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80"/>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Trends" id="{ACABEE8E-0986-42AF-8274-1A129C2AA391}">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 name="Share Evolution By Manuf" id="{EC728208-F8B9-40F6-BB1C-C61B0A8D2605}">
          <p14:sldIdLst>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Lst>
        </p14:section>
        <p14:section name="Share Evolution By Brand" id="{B481CDE5-6A36-4327-8B59-B5C856055717}">
          <p14:sldIdLst>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Lst>
        </p14:section>
        <p14:section name="Category Overview" id="{07EC2960-6513-4F5E-BB03-B04351622865}">
          <p14:sldIdLst>
            <p14:sldId id="2147475242"/>
            <p14:sldId id="2147475243"/>
            <p14:sldId id="2147475244"/>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notesMaster" Target="notesMasters/notesMaster1.xml"/><Relationship Id="rId81" Type="http://schemas.openxmlformats.org/officeDocument/2006/relationships/presProps" Target="presProps.xml"/><Relationship Id="rId82" Type="http://schemas.openxmlformats.org/officeDocument/2006/relationships/viewProps" Target="viewProps.xml"/><Relationship Id="rId83" Type="http://schemas.openxmlformats.org/officeDocument/2006/relationships/theme" Target="theme/theme1.xml"/><Relationship Id="rId84" Type="http://schemas.openxmlformats.org/officeDocument/2006/relationships/tableStyles" Target="tableStyles.xml"/><Relationship Id="rId85"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116.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44,509,7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71,008,39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39,074,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844509757</c:v>
                </c:pt>
                <c:pt idx="1">
                  <c:v>858765113</c:v>
                </c:pt>
                <c:pt idx="2">
                  <c:v>805071958</c:v>
                </c:pt>
                <c:pt idx="3">
                  <c:v>882968028</c:v>
                </c:pt>
                <c:pt idx="4">
                  <c:v>873582752</c:v>
                </c:pt>
                <c:pt idx="5">
                  <c:v>931908546</c:v>
                </c:pt>
                <c:pt idx="6">
                  <c:v>827689707</c:v>
                </c:pt>
                <c:pt idx="7">
                  <c:v>786973677</c:v>
                </c:pt>
                <c:pt idx="8">
                  <c:v>858399268</c:v>
                </c:pt>
                <c:pt idx="9">
                  <c:v>780775890</c:v>
                </c:pt>
                <c:pt idx="10">
                  <c:v>837856932</c:v>
                </c:pt>
                <c:pt idx="11">
                  <c:v>805574650</c:v>
                </c:pt>
                <c:pt idx="12">
                  <c:v>851028643</c:v>
                </c:pt>
                <c:pt idx="13">
                  <c:v>871008397</c:v>
                </c:pt>
                <c:pt idx="14">
                  <c:v>842494235</c:v>
                </c:pt>
                <c:pt idx="15">
                  <c:v>906039737</c:v>
                </c:pt>
                <c:pt idx="16">
                  <c:v>885390250</c:v>
                </c:pt>
                <c:pt idx="17">
                  <c:v>988106559</c:v>
                </c:pt>
                <c:pt idx="18">
                  <c:v>504379773</c:v>
                </c:pt>
                <c:pt idx="19">
                  <c:v>377000251</c:v>
                </c:pt>
                <c:pt idx="20">
                  <c:v>420944848</c:v>
                </c:pt>
                <c:pt idx="21">
                  <c:v>440986834</c:v>
                </c:pt>
                <c:pt idx="22">
                  <c:v>488860752</c:v>
                </c:pt>
                <c:pt idx="23">
                  <c:v>510119145</c:v>
                </c:pt>
                <c:pt idx="24">
                  <c:v>53907486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1.8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1.7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1.8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1.82</c:v>
                </c:pt>
                <c:pt idx="1">
                  <c:v>11.83</c:v>
                </c:pt>
                <c:pt idx="2">
                  <c:v>11.62</c:v>
                </c:pt>
                <c:pt idx="3">
                  <c:v>11.63</c:v>
                </c:pt>
                <c:pt idx="4">
                  <c:v>11.64</c:v>
                </c:pt>
                <c:pt idx="5">
                  <c:v>11.9</c:v>
                </c:pt>
                <c:pt idx="6">
                  <c:v>11.44</c:v>
                </c:pt>
                <c:pt idx="7">
                  <c:v>11.44</c:v>
                </c:pt>
                <c:pt idx="8">
                  <c:v>11.43</c:v>
                </c:pt>
                <c:pt idx="9">
                  <c:v>11.52</c:v>
                </c:pt>
                <c:pt idx="10">
                  <c:v>11.52</c:v>
                </c:pt>
                <c:pt idx="11">
                  <c:v>11.55</c:v>
                </c:pt>
                <c:pt idx="12">
                  <c:v>11.68</c:v>
                </c:pt>
                <c:pt idx="13">
                  <c:v>11.74</c:v>
                </c:pt>
                <c:pt idx="14">
                  <c:v>11.52</c:v>
                </c:pt>
                <c:pt idx="15">
                  <c:v>11.6</c:v>
                </c:pt>
                <c:pt idx="16">
                  <c:v>11.6</c:v>
                </c:pt>
                <c:pt idx="17">
                  <c:v>11.64</c:v>
                </c:pt>
                <c:pt idx="18">
                  <c:v>11.26</c:v>
                </c:pt>
                <c:pt idx="19">
                  <c:v>11.11</c:v>
                </c:pt>
                <c:pt idx="20">
                  <c:v>11.11</c:v>
                </c:pt>
                <c:pt idx="21">
                  <c:v>11.51</c:v>
                </c:pt>
                <c:pt idx="22">
                  <c:v>11.57</c:v>
                </c:pt>
                <c:pt idx="23">
                  <c:v>11.73</c:v>
                </c:pt>
                <c:pt idx="24">
                  <c:v>11.8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39,19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497,21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62,0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1339198</c:v>
                </c:pt>
                <c:pt idx="1">
                  <c:v>1176174</c:v>
                </c:pt>
                <c:pt idx="2">
                  <c:v>1144997</c:v>
                </c:pt>
                <c:pt idx="3">
                  <c:v>1092521</c:v>
                </c:pt>
                <c:pt idx="4">
                  <c:v>1060637</c:v>
                </c:pt>
                <c:pt idx="5">
                  <c:v>1204103</c:v>
                </c:pt>
                <c:pt idx="6">
                  <c:v>1312827</c:v>
                </c:pt>
                <c:pt idx="7">
                  <c:v>1187100</c:v>
                </c:pt>
                <c:pt idx="8">
                  <c:v>1278693</c:v>
                </c:pt>
                <c:pt idx="9">
                  <c:v>1069013</c:v>
                </c:pt>
                <c:pt idx="10">
                  <c:v>1277805</c:v>
                </c:pt>
                <c:pt idx="11">
                  <c:v>1403356</c:v>
                </c:pt>
                <c:pt idx="12">
                  <c:v>1566880</c:v>
                </c:pt>
                <c:pt idx="13">
                  <c:v>1497217</c:v>
                </c:pt>
                <c:pt idx="14">
                  <c:v>1308325</c:v>
                </c:pt>
                <c:pt idx="15">
                  <c:v>1379842</c:v>
                </c:pt>
                <c:pt idx="16">
                  <c:v>1282307</c:v>
                </c:pt>
                <c:pt idx="17">
                  <c:v>1223613</c:v>
                </c:pt>
                <c:pt idx="18">
                  <c:v>1770972</c:v>
                </c:pt>
                <c:pt idx="19">
                  <c:v>1325480</c:v>
                </c:pt>
                <c:pt idx="20">
                  <c:v>1413094</c:v>
                </c:pt>
                <c:pt idx="21">
                  <c:v>1251840</c:v>
                </c:pt>
                <c:pt idx="22">
                  <c:v>1299919</c:v>
                </c:pt>
                <c:pt idx="23">
                  <c:v>1785038</c:v>
                </c:pt>
                <c:pt idx="24">
                  <c:v>166206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4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3.8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3.4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3.46</c:v>
                </c:pt>
                <c:pt idx="1">
                  <c:v>13.92</c:v>
                </c:pt>
                <c:pt idx="2">
                  <c:v>13.57</c:v>
                </c:pt>
                <c:pt idx="3">
                  <c:v>14.03</c:v>
                </c:pt>
                <c:pt idx="4">
                  <c:v>14.0</c:v>
                </c:pt>
                <c:pt idx="5">
                  <c:v>13.28</c:v>
                </c:pt>
                <c:pt idx="6">
                  <c:v>13.51</c:v>
                </c:pt>
                <c:pt idx="7">
                  <c:v>14.12</c:v>
                </c:pt>
                <c:pt idx="8">
                  <c:v>13.9</c:v>
                </c:pt>
                <c:pt idx="9">
                  <c:v>14.24</c:v>
                </c:pt>
                <c:pt idx="10">
                  <c:v>13.62</c:v>
                </c:pt>
                <c:pt idx="11">
                  <c:v>13.34</c:v>
                </c:pt>
                <c:pt idx="12">
                  <c:v>14.12</c:v>
                </c:pt>
                <c:pt idx="13">
                  <c:v>13.8</c:v>
                </c:pt>
                <c:pt idx="14">
                  <c:v>13.59</c:v>
                </c:pt>
                <c:pt idx="15">
                  <c:v>13.91</c:v>
                </c:pt>
                <c:pt idx="16">
                  <c:v>13.91</c:v>
                </c:pt>
                <c:pt idx="17">
                  <c:v>13.84</c:v>
                </c:pt>
                <c:pt idx="18">
                  <c:v>13.79</c:v>
                </c:pt>
                <c:pt idx="19">
                  <c:v>13.4</c:v>
                </c:pt>
                <c:pt idx="20">
                  <c:v>13.56</c:v>
                </c:pt>
                <c:pt idx="21">
                  <c:v>13.72</c:v>
                </c:pt>
                <c:pt idx="22">
                  <c:v>12.84</c:v>
                </c:pt>
                <c:pt idx="23">
                  <c:v>13.53</c:v>
                </c:pt>
                <c:pt idx="24">
                  <c:v>13.4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5187265003174</c:v>
                </c:pt>
                <c:pt idx="2">
                  <c:v>1.147614629620587</c:v>
                </c:pt>
                <c:pt idx="3">
                  <c:v>1.162654426485668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La Vache Qui Rit</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21.0</c:v>
                </c:pt>
                <c:pt idx="2">
                  <c:v>120.0</c:v>
                </c:pt>
                <c:pt idx="3">
                  <c:v>12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0.0</c:v>
                </c:pt>
                <c:pt idx="2">
                  <c:v>120.0</c:v>
                </c:pt>
                <c:pt idx="3">
                  <c:v>11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ini Babyb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1.0</c:v>
                </c:pt>
                <c:pt idx="2">
                  <c:v>111.0</c:v>
                </c:pt>
                <c:pt idx="3">
                  <c:v>12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Kiri</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3.0</c:v>
                </c:pt>
                <c:pt idx="2">
                  <c:v>115.0</c:v>
                </c:pt>
                <c:pt idx="3">
                  <c:v>11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Ficello</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7.0</c:v>
                </c:pt>
                <c:pt idx="2">
                  <c:v>112.0</c:v>
                </c:pt>
                <c:pt idx="3">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6.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La Vache Qui Rit</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00.0</c:v>
                </c:pt>
                <c:pt idx="2">
                  <c:v>106.0</c:v>
                </c:pt>
                <c:pt idx="3">
                  <c:v>11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7.0</c:v>
                </c:pt>
                <c:pt idx="2">
                  <c:v>130.0</c:v>
                </c:pt>
                <c:pt idx="3">
                  <c:v>12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ini Babyb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2.0</c:v>
                </c:pt>
                <c:pt idx="2">
                  <c:v>90.0</c:v>
                </c:pt>
                <c:pt idx="3">
                  <c:v>8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Kiri</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6.0</c:v>
                </c:pt>
                <c:pt idx="2">
                  <c:v>97.0</c:v>
                </c:pt>
                <c:pt idx="3">
                  <c:v>10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Ficello</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0.0</c:v>
                </c:pt>
                <c:pt idx="2">
                  <c:v>97.0</c:v>
                </c:pt>
                <c:pt idx="3">
                  <c:v>11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358280662014542</c:v>
                </c:pt>
                <c:pt idx="2">
                  <c:v>1.1289320814000219</c:v>
                </c:pt>
                <c:pt idx="3">
                  <c:v>1.158397574074750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La Vache Qui Rit</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21.0</c:v>
                </c:pt>
                <c:pt idx="2">
                  <c:v>116.0</c:v>
                </c:pt>
                <c:pt idx="3">
                  <c:v>12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3.0</c:v>
                </c:pt>
                <c:pt idx="2">
                  <c:v>116.0</c:v>
                </c:pt>
                <c:pt idx="3">
                  <c:v>11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ini Babyb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4.0</c:v>
                </c:pt>
                <c:pt idx="2">
                  <c:v>115.0</c:v>
                </c:pt>
                <c:pt idx="3">
                  <c:v>12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Kiri</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7.0</c:v>
                </c:pt>
                <c:pt idx="2">
                  <c:v>122.0</c:v>
                </c:pt>
                <c:pt idx="3">
                  <c:v>11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Ficello</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5.0</c:v>
                </c:pt>
                <c:pt idx="2">
                  <c:v>110.0</c:v>
                </c:pt>
                <c:pt idx="3">
                  <c:v>1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6.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Tarta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5.0</c:v>
                </c:pt>
                <c:pt idx="2">
                  <c:v>80.0</c:v>
                </c:pt>
                <c:pt idx="3">
                  <c:v>7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2.0</c:v>
                </c:pt>
                <c:pt idx="2">
                  <c:v>88.0</c:v>
                </c:pt>
                <c:pt idx="3">
                  <c:v>7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t More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6.0</c:v>
                </c:pt>
                <c:pt idx="2">
                  <c:v>96.0</c:v>
                </c:pt>
                <c:pt idx="3">
                  <c:v>10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aysan Bret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0.0</c:v>
                </c:pt>
                <c:pt idx="2">
                  <c:v>124.0</c:v>
                </c:pt>
                <c:pt idx="3">
                  <c:v>14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8.0</c:v>
                </c:pt>
                <c:pt idx="2">
                  <c:v>114.0</c:v>
                </c:pt>
                <c:pt idx="3">
                  <c:v>10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6.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005581207044466</c:v>
                </c:pt>
                <c:pt idx="2">
                  <c:v>1.0832746937083697</c:v>
                </c:pt>
                <c:pt idx="3">
                  <c:v>1.06856498395041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Tarta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2.0</c:v>
                </c:pt>
                <c:pt idx="2">
                  <c:v>111.0</c:v>
                </c:pt>
                <c:pt idx="3">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7.0</c:v>
                </c:pt>
                <c:pt idx="2">
                  <c:v>117.0</c:v>
                </c:pt>
                <c:pt idx="3">
                  <c:v>11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t More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09.0</c:v>
                </c:pt>
                <c:pt idx="2">
                  <c:v>108.0</c:v>
                </c:pt>
                <c:pt idx="3">
                  <c:v>10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aysan Bret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4.0</c:v>
                </c:pt>
                <c:pt idx="2">
                  <c:v>114.0</c:v>
                </c:pt>
                <c:pt idx="3">
                  <c:v>1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7.0</c:v>
                </c:pt>
                <c:pt idx="2">
                  <c:v>105.0</c:v>
                </c:pt>
                <c:pt idx="3">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Tarta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89.0</c:v>
                </c:pt>
                <c:pt idx="2">
                  <c:v>77.0</c:v>
                </c:pt>
                <c:pt idx="3">
                  <c:v>7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5.0</c:v>
                </c:pt>
                <c:pt idx="2">
                  <c:v>89.0</c:v>
                </c:pt>
                <c:pt idx="3">
                  <c:v>8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t More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3.0</c:v>
                </c:pt>
                <c:pt idx="2">
                  <c:v>94.0</c:v>
                </c:pt>
                <c:pt idx="3">
                  <c:v>9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aysan Bret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03.0</c:v>
                </c:pt>
                <c:pt idx="2">
                  <c:v>114.0</c:v>
                </c:pt>
                <c:pt idx="3">
                  <c:v>13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7.0</c:v>
                </c:pt>
                <c:pt idx="2">
                  <c:v>113.0</c:v>
                </c:pt>
                <c:pt idx="3">
                  <c:v>9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48036855348189</c:v>
                </c:pt>
                <c:pt idx="2">
                  <c:v>1.1146027551001936</c:v>
                </c:pt>
                <c:pt idx="3">
                  <c:v>1.093477906703111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Tarta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6.0</c:v>
                </c:pt>
                <c:pt idx="2">
                  <c:v>113.0</c:v>
                </c:pt>
                <c:pt idx="3">
                  <c:v>1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1.0</c:v>
                </c:pt>
                <c:pt idx="2">
                  <c:v>120.0</c:v>
                </c:pt>
                <c:pt idx="3">
                  <c:v>12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t More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4.0</c:v>
                </c:pt>
                <c:pt idx="2">
                  <c:v>111.0</c:v>
                </c:pt>
                <c:pt idx="3">
                  <c:v>10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aysan Bret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9.0</c:v>
                </c:pt>
                <c:pt idx="2">
                  <c:v>116.0</c:v>
                </c:pt>
                <c:pt idx="3">
                  <c:v>11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3.0</c:v>
                </c:pt>
                <c:pt idx="2">
                  <c:v>107.0</c:v>
                </c:pt>
                <c:pt idx="3">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Tarta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9.0</c:v>
                </c:pt>
                <c:pt idx="2">
                  <c:v>74.0</c:v>
                </c:pt>
                <c:pt idx="3">
                  <c:v>7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0.0</c:v>
                </c:pt>
                <c:pt idx="2">
                  <c:v>90.0</c:v>
                </c:pt>
                <c:pt idx="3">
                  <c:v>8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t More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4.0</c:v>
                </c:pt>
                <c:pt idx="2">
                  <c:v>97.0</c:v>
                </c:pt>
                <c:pt idx="3">
                  <c:v>11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aysan Bret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27.0</c:v>
                </c:pt>
                <c:pt idx="2">
                  <c:v>174.0</c:v>
                </c:pt>
                <c:pt idx="3">
                  <c:v>22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6.0</c:v>
                </c:pt>
                <c:pt idx="2">
                  <c:v>122.0</c:v>
                </c:pt>
                <c:pt idx="3">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73.59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075535147802726</c:v>
                </c:pt>
                <c:pt idx="2">
                  <c:v>1.1031999314096275</c:v>
                </c:pt>
                <c:pt idx="3">
                  <c:v>1.122471920816225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Tartare</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4.0</c:v>
                </c:pt>
                <c:pt idx="2">
                  <c:v>115.0</c:v>
                </c:pt>
                <c:pt idx="3">
                  <c:v>11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6.0</c:v>
                </c:pt>
                <c:pt idx="2">
                  <c:v>117.0</c:v>
                </c:pt>
                <c:pt idx="3">
                  <c:v>12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t More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0.0</c:v>
                </c:pt>
                <c:pt idx="2">
                  <c:v>108.0</c:v>
                </c:pt>
                <c:pt idx="3">
                  <c:v>10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aysan Breton</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3.0</c:v>
                </c:pt>
                <c:pt idx="2">
                  <c:v>112.0</c:v>
                </c:pt>
                <c:pt idx="3">
                  <c:v>1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9.0</c:v>
                </c:pt>
                <c:pt idx="2">
                  <c:v>111.0</c:v>
                </c:pt>
                <c:pt idx="3">
                  <c:v>1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85.0</c:v>
                </c:pt>
                <c:pt idx="2">
                  <c:v>78.0</c:v>
                </c:pt>
                <c:pt idx="3">
                  <c:v>60.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albani</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4.0</c:v>
                </c:pt>
                <c:pt idx="2">
                  <c:v>84.0</c:v>
                </c:pt>
                <c:pt idx="3">
                  <c:v>85.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05.0</c:v>
                </c:pt>
                <c:pt idx="2">
                  <c:v>110.0</c:v>
                </c:pt>
                <c:pt idx="3">
                  <c:v>10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asa Azzurr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5.0</c:v>
                </c:pt>
                <c:pt idx="2">
                  <c:v>102.0</c:v>
                </c:pt>
                <c:pt idx="3">
                  <c:v>1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slo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8.0</c:v>
                </c:pt>
                <c:pt idx="2">
                  <c:v>102.0</c:v>
                </c:pt>
                <c:pt idx="3">
                  <c:v>116.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alakis</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98.0</c:v>
                </c:pt>
                <c:pt idx="2">
                  <c:v>87.0</c:v>
                </c:pt>
                <c:pt idx="3">
                  <c:v>8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57,89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711,04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114,45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1357892</c:v>
                </c:pt>
                <c:pt idx="1">
                  <c:v>1489284</c:v>
                </c:pt>
                <c:pt idx="2">
                  <c:v>1682960</c:v>
                </c:pt>
                <c:pt idx="3">
                  <c:v>1570341</c:v>
                </c:pt>
                <c:pt idx="4">
                  <c:v>1579905</c:v>
                </c:pt>
                <c:pt idx="5">
                  <c:v>1443477</c:v>
                </c:pt>
                <c:pt idx="6">
                  <c:v>1401238</c:v>
                </c:pt>
                <c:pt idx="7">
                  <c:v>1713347</c:v>
                </c:pt>
                <c:pt idx="8">
                  <c:v>1835832</c:v>
                </c:pt>
                <c:pt idx="9">
                  <c:v>1419856</c:v>
                </c:pt>
                <c:pt idx="10">
                  <c:v>1755437</c:v>
                </c:pt>
                <c:pt idx="11">
                  <c:v>1499813</c:v>
                </c:pt>
                <c:pt idx="12">
                  <c:v>1545979</c:v>
                </c:pt>
                <c:pt idx="13">
                  <c:v>1711044</c:v>
                </c:pt>
                <c:pt idx="14">
                  <c:v>1801806</c:v>
                </c:pt>
                <c:pt idx="15">
                  <c:v>1878866</c:v>
                </c:pt>
                <c:pt idx="16">
                  <c:v>2037898</c:v>
                </c:pt>
                <c:pt idx="17">
                  <c:v>1689516</c:v>
                </c:pt>
                <c:pt idx="18">
                  <c:v>1831909</c:v>
                </c:pt>
                <c:pt idx="19">
                  <c:v>2363671</c:v>
                </c:pt>
                <c:pt idx="20">
                  <c:v>1977224</c:v>
                </c:pt>
                <c:pt idx="21">
                  <c:v>1607498</c:v>
                </c:pt>
                <c:pt idx="22">
                  <c:v>1936573</c:v>
                </c:pt>
                <c:pt idx="23">
                  <c:v>1607619</c:v>
                </c:pt>
                <c:pt idx="24">
                  <c:v>211445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1.9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0.7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1.2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1.92</c:v>
                </c:pt>
                <c:pt idx="1">
                  <c:v>11.72</c:v>
                </c:pt>
                <c:pt idx="2">
                  <c:v>11.73</c:v>
                </c:pt>
                <c:pt idx="3">
                  <c:v>11.32</c:v>
                </c:pt>
                <c:pt idx="4">
                  <c:v>10.33</c:v>
                </c:pt>
                <c:pt idx="5">
                  <c:v>10.52</c:v>
                </c:pt>
                <c:pt idx="6">
                  <c:v>10.66</c:v>
                </c:pt>
                <c:pt idx="7">
                  <c:v>10.29</c:v>
                </c:pt>
                <c:pt idx="8">
                  <c:v>10.29</c:v>
                </c:pt>
                <c:pt idx="9">
                  <c:v>11.28</c:v>
                </c:pt>
                <c:pt idx="10">
                  <c:v>10.66</c:v>
                </c:pt>
                <c:pt idx="11">
                  <c:v>10.28</c:v>
                </c:pt>
                <c:pt idx="12">
                  <c:v>10.75</c:v>
                </c:pt>
                <c:pt idx="13">
                  <c:v>10.74</c:v>
                </c:pt>
                <c:pt idx="14">
                  <c:v>10.62</c:v>
                </c:pt>
                <c:pt idx="15">
                  <c:v>10.07</c:v>
                </c:pt>
                <c:pt idx="16">
                  <c:v>10.28</c:v>
                </c:pt>
                <c:pt idx="17">
                  <c:v>11.04</c:v>
                </c:pt>
                <c:pt idx="18">
                  <c:v>11.14</c:v>
                </c:pt>
                <c:pt idx="19">
                  <c:v>10.87</c:v>
                </c:pt>
                <c:pt idx="20">
                  <c:v>10.8</c:v>
                </c:pt>
                <c:pt idx="21">
                  <c:v>11.44</c:v>
                </c:pt>
                <c:pt idx="22">
                  <c:v>11.44</c:v>
                </c:pt>
                <c:pt idx="23">
                  <c:v>11.11</c:v>
                </c:pt>
                <c:pt idx="24">
                  <c:v>11.2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400122314807737</c:v>
                </c:pt>
                <c:pt idx="2">
                  <c:v>1.1574898708049843</c:v>
                </c:pt>
                <c:pt idx="3">
                  <c:v>1.190103967586575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5.0</c:v>
                </c:pt>
                <c:pt idx="2">
                  <c:v>114.0</c:v>
                </c:pt>
                <c:pt idx="3">
                  <c:v>11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albani</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3.0</c:v>
                </c:pt>
                <c:pt idx="2">
                  <c:v>123.0</c:v>
                </c:pt>
                <c:pt idx="3">
                  <c:v>12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4.0</c:v>
                </c:pt>
                <c:pt idx="2">
                  <c:v>117.0</c:v>
                </c:pt>
                <c:pt idx="3">
                  <c:v>11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asa Azzurr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07.0</c:v>
                </c:pt>
                <c:pt idx="2">
                  <c:v>106.0</c:v>
                </c:pt>
                <c:pt idx="3">
                  <c:v>10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slo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29.0</c:v>
                </c:pt>
                <c:pt idx="2">
                  <c:v>134.0</c:v>
                </c:pt>
                <c:pt idx="3">
                  <c:v>130.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alakis</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123.0</c:v>
                </c:pt>
                <c:pt idx="2">
                  <c:v>126.0</c:v>
                </c:pt>
                <c:pt idx="3">
                  <c:v>12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9.0</c:v>
                </c:pt>
                <c:pt idx="2">
                  <c:v>95.0</c:v>
                </c:pt>
                <c:pt idx="3">
                  <c:v>8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albani</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3.0</c:v>
                </c:pt>
                <c:pt idx="2">
                  <c:v>91.0</c:v>
                </c:pt>
                <c:pt idx="3">
                  <c:v>9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1.0</c:v>
                </c:pt>
                <c:pt idx="2">
                  <c:v>114.0</c:v>
                </c:pt>
                <c:pt idx="3">
                  <c:v>10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asa Azzurr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82.0</c:v>
                </c:pt>
                <c:pt idx="2">
                  <c:v>90.0</c:v>
                </c:pt>
                <c:pt idx="3">
                  <c:v>10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Salaki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99.0</c:v>
                </c:pt>
                <c:pt idx="2">
                  <c:v>93.0</c:v>
                </c:pt>
                <c:pt idx="3">
                  <c:v>9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639323743194072</c:v>
                </c:pt>
                <c:pt idx="2">
                  <c:v>1.1632171370841566</c:v>
                </c:pt>
                <c:pt idx="3">
                  <c:v>1.204361159041939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3.0</c:v>
                </c:pt>
                <c:pt idx="2">
                  <c:v>112.0</c:v>
                </c:pt>
                <c:pt idx="3">
                  <c:v>1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albani</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4.0</c:v>
                </c:pt>
                <c:pt idx="2">
                  <c:v>125.0</c:v>
                </c:pt>
                <c:pt idx="3">
                  <c:v>13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8.0</c:v>
                </c:pt>
                <c:pt idx="2">
                  <c:v>119.0</c:v>
                </c:pt>
                <c:pt idx="3">
                  <c:v>12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asa Azzurr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20.0</c:v>
                </c:pt>
                <c:pt idx="2">
                  <c:v>110.0</c:v>
                </c:pt>
                <c:pt idx="3">
                  <c:v>116.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Salaki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25.0</c:v>
                </c:pt>
                <c:pt idx="2">
                  <c:v>128.0</c:v>
                </c:pt>
                <c:pt idx="3">
                  <c:v>12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7.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77.0</c:v>
                </c:pt>
                <c:pt idx="2">
                  <c:v>74.0</c:v>
                </c:pt>
                <c:pt idx="3">
                  <c:v>5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Galbani</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2.0</c:v>
                </c:pt>
                <c:pt idx="2">
                  <c:v>83.0</c:v>
                </c:pt>
                <c:pt idx="3">
                  <c:v>9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0.0</c:v>
                </c:pt>
                <c:pt idx="2">
                  <c:v>112.0</c:v>
                </c:pt>
                <c:pt idx="3">
                  <c:v>10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Casa Azzurr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0.0</c:v>
                </c:pt>
                <c:pt idx="2">
                  <c:v>110.0</c:v>
                </c:pt>
                <c:pt idx="3">
                  <c:v>11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Islo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5.0</c:v>
                </c:pt>
                <c:pt idx="2">
                  <c:v>89.0</c:v>
                </c:pt>
                <c:pt idx="3">
                  <c:v>100.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Salakis</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95.0</c:v>
                </c:pt>
                <c:pt idx="2">
                  <c:v>87.0</c:v>
                </c:pt>
                <c:pt idx="3">
                  <c:v>8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375928827781427</c:v>
                </c:pt>
                <c:pt idx="2">
                  <c:v>1.1623515139260983</c:v>
                </c:pt>
                <c:pt idx="3">
                  <c:v>1.223636455542637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22.0</c:v>
                </c:pt>
                <c:pt idx="2">
                  <c:v>121.0</c:v>
                </c:pt>
                <c:pt idx="3">
                  <c:v>12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Galbani</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4.0</c:v>
                </c:pt>
                <c:pt idx="2">
                  <c:v>123.0</c:v>
                </c:pt>
                <c:pt idx="3">
                  <c:v>13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1.0</c:v>
                </c:pt>
                <c:pt idx="2">
                  <c:v>113.0</c:v>
                </c:pt>
                <c:pt idx="3">
                  <c:v>11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Casa Azzurr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1.0</c:v>
                </c:pt>
                <c:pt idx="2">
                  <c:v>120.0</c:v>
                </c:pt>
                <c:pt idx="3">
                  <c:v>12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Islos</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30.0</c:v>
                </c:pt>
                <c:pt idx="2">
                  <c:v>137.0</c:v>
                </c:pt>
                <c:pt idx="3">
                  <c:v>136.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Salakis</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121.0</c:v>
                </c:pt>
                <c:pt idx="2">
                  <c:v>128.0</c:v>
                </c:pt>
                <c:pt idx="3">
                  <c:v>13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4.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2"/>
          <c:order val="2"/>
          <c:tx>
            <c:strRef>
              <c:f>Sheet1!$B$1</c:f>
              <c:strCache>
                <c:ptCount val="1"/>
                <c:pt idx="0">
                  <c:v>Aperitif</c:v>
                </c:pt>
              </c:strCache>
            </c:strRef>
          </c:tx>
          <c:spPr>
            <a:solidFill>
              <a:srgbClr val="00A097"/>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B$2:$B$37</c:f>
              <c:numCache>
                <c:formatCode>General</c:formatCode>
                <c:ptCount val="36"/>
                <c:pt idx="0">
                  <c:v>19.866072</c:v>
                </c:pt>
                <c:pt idx="1">
                  <c:v>13.987594</c:v>
                </c:pt>
                <c:pt idx="2">
                  <c:v>15.093668</c:v>
                </c:pt>
                <c:pt idx="3">
                  <c:v>15.976308</c:v>
                </c:pt>
                <c:pt idx="4">
                  <c:v>37.817838</c:v>
                </c:pt>
                <c:pt idx="5">
                  <c:v>13.428345</c:v>
                </c:pt>
                <c:pt idx="6">
                  <c:v>13.584984</c:v>
                </c:pt>
                <c:pt idx="7">
                  <c:v>13.591596</c:v>
                </c:pt>
                <c:pt idx="8">
                  <c:v>17.075495</c:v>
                </c:pt>
                <c:pt idx="9">
                  <c:v>15.656629</c:v>
                </c:pt>
                <c:pt idx="10">
                  <c:v>17.231443</c:v>
                </c:pt>
                <c:pt idx="11">
                  <c:v>19.220701</c:v>
                </c:pt>
                <c:pt idx="12">
                  <c:v>18.992174</c:v>
                </c:pt>
                <c:pt idx="13">
                  <c:v>14.02873</c:v>
                </c:pt>
                <c:pt idx="14">
                  <c:v>14.370139</c:v>
                </c:pt>
                <c:pt idx="15">
                  <c:v>14.46024</c:v>
                </c:pt>
                <c:pt idx="16">
                  <c:v>37.556</c:v>
                </c:pt>
                <c:pt idx="17">
                  <c:v>11.586886</c:v>
                </c:pt>
                <c:pt idx="18">
                  <c:v>12.575598</c:v>
                </c:pt>
                <c:pt idx="19">
                  <c:v>17.005181</c:v>
                </c:pt>
                <c:pt idx="20">
                  <c:v>13.623038</c:v>
                </c:pt>
                <c:pt idx="21">
                  <c:v>15.624847</c:v>
                </c:pt>
                <c:pt idx="22">
                  <c:v>16.034866</c:v>
                </c:pt>
                <c:pt idx="23">
                  <c:v>19.246147</c:v>
                </c:pt>
                <c:pt idx="24">
                  <c:v>18.952974</c:v>
                </c:pt>
                <c:pt idx="25">
                  <c:v>13.400928</c:v>
                </c:pt>
                <c:pt idx="26">
                  <c:v>14.547474</c:v>
                </c:pt>
                <c:pt idx="27">
                  <c:v>14.88936</c:v>
                </c:pt>
                <c:pt idx="28">
                  <c:v>33.512532</c:v>
                </c:pt>
                <c:pt idx="29">
                  <c:v>15.432353</c:v>
                </c:pt>
                <c:pt idx="30">
                  <c:v>13.365552</c:v>
                </c:pt>
                <c:pt idx="31">
                  <c:v>12.96653</c:v>
                </c:pt>
                <c:pt idx="32">
                  <c:v>18.815225</c:v>
                </c:pt>
                <c:pt idx="33">
                  <c:v>16.402842</c:v>
                </c:pt>
                <c:pt idx="34">
                  <c:v>19.04816</c:v>
                </c:pt>
                <c:pt idx="35">
                  <c:v>19.249436</c:v>
                </c:pt>
              </c:numCache>
            </c:numRef>
          </c:val>
          <c:extLst xmlns:c15="http://schemas.microsoft.com/office/drawing/2012/chart">
            <c:ext xmlns:c16="http://schemas.microsoft.com/office/drawing/2014/chart" uri="{C3380CC4-5D6E-409C-BE32-E72D297353CC}">
              <c16:uniqueId val="{00000000-2D16-4906-BB22-77AF188F6975}"/>
            </c:ext>
          </c:extLst>
        </c:ser>
        <c:ser>
          <c:idx val="3"/>
          <c:order val="3"/>
          <c:tx>
            <c:strRef>
              <c:f>Sheet1!$C$1</c:f>
              <c:strCache>
                <c:ptCount val="1"/>
                <c:pt idx="0">
                  <c:v>Soft Cheese</c:v>
                </c:pt>
              </c:strCache>
            </c:strRef>
          </c:tx>
          <c:spPr>
            <a:solidFill>
              <a:srgbClr val="7ECAC4"/>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C$2:$C$37</c:f>
              <c:numCache>
                <c:formatCode>General</c:formatCode>
                <c:ptCount val="36"/>
                <c:pt idx="0">
                  <c:v>362.045009</c:v>
                </c:pt>
                <c:pt idx="1">
                  <c:v>314.565588</c:v>
                </c:pt>
                <c:pt idx="2">
                  <c:v>297.52428</c:v>
                </c:pt>
                <c:pt idx="3">
                  <c:v>282.327537</c:v>
                </c:pt>
                <c:pt idx="4">
                  <c:v>292.396645</c:v>
                </c:pt>
                <c:pt idx="5">
                  <c:v>284.873969</c:v>
                </c:pt>
                <c:pt idx="6">
                  <c:v>269.375687</c:v>
                </c:pt>
                <c:pt idx="7">
                  <c:v>317.660339</c:v>
                </c:pt>
                <c:pt idx="8">
                  <c:v>334.294992</c:v>
                </c:pt>
                <c:pt idx="9">
                  <c:v>370.246594</c:v>
                </c:pt>
                <c:pt idx="10">
                  <c:v>383.061489</c:v>
                </c:pt>
                <c:pt idx="11">
                  <c:v>412.673906</c:v>
                </c:pt>
                <c:pt idx="12">
                  <c:v>410.43021</c:v>
                </c:pt>
                <c:pt idx="13">
                  <c:v>360.249029</c:v>
                </c:pt>
                <c:pt idx="14">
                  <c:v>331.60563</c:v>
                </c:pt>
                <c:pt idx="15">
                  <c:v>304.466845</c:v>
                </c:pt>
                <c:pt idx="16">
                  <c:v>323.461497</c:v>
                </c:pt>
                <c:pt idx="17">
                  <c:v>295.275513</c:v>
                </c:pt>
                <c:pt idx="18">
                  <c:v>294.019175</c:v>
                </c:pt>
                <c:pt idx="19">
                  <c:v>338.427543</c:v>
                </c:pt>
                <c:pt idx="20">
                  <c:v>334.329986</c:v>
                </c:pt>
                <c:pt idx="21">
                  <c:v>380.36476</c:v>
                </c:pt>
                <c:pt idx="22">
                  <c:v>382.529883</c:v>
                </c:pt>
                <c:pt idx="23">
                  <c:v>416.949109</c:v>
                </c:pt>
                <c:pt idx="24">
                  <c:v>428.113426</c:v>
                </c:pt>
                <c:pt idx="25">
                  <c:v>359.447692</c:v>
                </c:pt>
                <c:pt idx="26">
                  <c:v>331.514227</c:v>
                </c:pt>
                <c:pt idx="27">
                  <c:v>315.117355</c:v>
                </c:pt>
                <c:pt idx="28">
                  <c:v>382.672232</c:v>
                </c:pt>
                <c:pt idx="29">
                  <c:v>327.985587</c:v>
                </c:pt>
                <c:pt idx="30">
                  <c:v>295.710966</c:v>
                </c:pt>
                <c:pt idx="31">
                  <c:v>339.143873</c:v>
                </c:pt>
                <c:pt idx="32">
                  <c:v>358.743325</c:v>
                </c:pt>
                <c:pt idx="33">
                  <c:v>408.938913</c:v>
                </c:pt>
                <c:pt idx="34">
                  <c:v>434.055878</c:v>
                </c:pt>
                <c:pt idx="35">
                  <c:v>458.289057</c:v>
                </c:pt>
              </c:numCache>
            </c:numRef>
          </c:val>
          <c:extLst xmlns:c15="http://schemas.microsoft.com/office/drawing/2012/chart">
            <c:ext xmlns:c16="http://schemas.microsoft.com/office/drawing/2014/chart" uri="{C3380CC4-5D6E-409C-BE32-E72D297353CC}">
              <c16:uniqueId val="{00000001-2D16-4906-BB22-77AF188F6975}"/>
            </c:ext>
          </c:extLst>
        </c:ser>
        <c:ser>
          <c:idx val="4"/>
          <c:order val="4"/>
          <c:tx>
            <c:strRef>
              <c:f>Sheet1!$D$1</c:f>
              <c:strCache>
                <c:ptCount val="1"/>
                <c:pt idx="0">
                  <c:v>Tranche A Froid</c:v>
                </c:pt>
              </c:strCache>
            </c:strRef>
          </c:tx>
          <c:spPr>
            <a:solidFill>
              <a:srgbClr val="A6A6A6"/>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D$2:$D$37</c:f>
              <c:numCache>
                <c:formatCode>General</c:formatCode>
                <c:ptCount val="36"/>
                <c:pt idx="0">
                  <c:v>31.011436</c:v>
                </c:pt>
                <c:pt idx="1">
                  <c:v>28.549166</c:v>
                </c:pt>
                <c:pt idx="2">
                  <c:v>29.016498</c:v>
                </c:pt>
                <c:pt idx="3">
                  <c:v>28.375518</c:v>
                </c:pt>
                <c:pt idx="4">
                  <c:v>26.120522</c:v>
                </c:pt>
                <c:pt idx="5">
                  <c:v>29.436013</c:v>
                </c:pt>
                <c:pt idx="6">
                  <c:v>29.529994</c:v>
                </c:pt>
                <c:pt idx="7">
                  <c:v>31.406741</c:v>
                </c:pt>
                <c:pt idx="8">
                  <c:v>32.290564</c:v>
                </c:pt>
                <c:pt idx="9">
                  <c:v>35.695684</c:v>
                </c:pt>
                <c:pt idx="10">
                  <c:v>35.466196</c:v>
                </c:pt>
                <c:pt idx="11">
                  <c:v>39.097882</c:v>
                </c:pt>
                <c:pt idx="12">
                  <c:v>38.844481</c:v>
                </c:pt>
                <c:pt idx="13">
                  <c:v>34.559577</c:v>
                </c:pt>
                <c:pt idx="14">
                  <c:v>34.835877</c:v>
                </c:pt>
                <c:pt idx="15">
                  <c:v>31.967667</c:v>
                </c:pt>
                <c:pt idx="16">
                  <c:v>30.00406</c:v>
                </c:pt>
                <c:pt idx="17">
                  <c:v>31.159089</c:v>
                </c:pt>
                <c:pt idx="18">
                  <c:v>31.849427</c:v>
                </c:pt>
                <c:pt idx="19">
                  <c:v>33.754763</c:v>
                </c:pt>
                <c:pt idx="20">
                  <c:v>33.916098</c:v>
                </c:pt>
                <c:pt idx="21">
                  <c:v>37.552405</c:v>
                </c:pt>
                <c:pt idx="22">
                  <c:v>37.579625</c:v>
                </c:pt>
                <c:pt idx="23">
                  <c:v>40.799229</c:v>
                </c:pt>
                <c:pt idx="24">
                  <c:v>41.200826</c:v>
                </c:pt>
                <c:pt idx="25">
                  <c:v>35.123325</c:v>
                </c:pt>
                <c:pt idx="26">
                  <c:v>35.75786</c:v>
                </c:pt>
                <c:pt idx="27">
                  <c:v>32.730327</c:v>
                </c:pt>
                <c:pt idx="28">
                  <c:v>30.292972</c:v>
                </c:pt>
                <c:pt idx="29">
                  <c:v>8.722123</c:v>
                </c:pt>
                <c:pt idx="30">
                  <c:v>4.491432</c:v>
                </c:pt>
                <c:pt idx="31">
                  <c:v>5.21473</c:v>
                </c:pt>
                <c:pt idx="32">
                  <c:v>5.132457</c:v>
                </c:pt>
                <c:pt idx="33">
                  <c:v>6.148654</c:v>
                </c:pt>
                <c:pt idx="34">
                  <c:v>6.187987</c:v>
                </c:pt>
                <c:pt idx="35">
                  <c:v>6.786144</c:v>
                </c:pt>
              </c:numCache>
            </c:numRef>
          </c:val>
          <c:extLst xmlns:c15="http://schemas.microsoft.com/office/drawing/2012/chart">
            <c:ext xmlns:c16="http://schemas.microsoft.com/office/drawing/2014/chart" uri="{C3380CC4-5D6E-409C-BE32-E72D297353CC}">
              <c16:uniqueId val="{00000002-2D16-4906-BB22-77AF188F6975}"/>
            </c:ext>
          </c:extLst>
        </c:ser>
        <c:ser>
          <c:idx val="5"/>
          <c:order val="5"/>
          <c:tx>
            <c:strRef>
              <c:f>Sheet1!$E$1</c:f>
              <c:strCache>
                <c:ptCount val="1"/>
                <c:pt idx="0">
                  <c:v>Bloc</c:v>
                </c:pt>
              </c:strCache>
            </c:strRef>
          </c:tx>
          <c:spPr>
            <a:solidFill>
              <a:srgbClr val="9B9898"/>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E$2:$E$37</c:f>
              <c:numCache>
                <c:formatCode>General</c:formatCode>
                <c:ptCount val="36"/>
                <c:pt idx="0">
                  <c:v>82.952659</c:v>
                </c:pt>
                <c:pt idx="1">
                  <c:v>80.297279</c:v>
                </c:pt>
                <c:pt idx="2">
                  <c:v>82.462507</c:v>
                </c:pt>
                <c:pt idx="3">
                  <c:v>82.052827</c:v>
                </c:pt>
                <c:pt idx="4">
                  <c:v>84.606012</c:v>
                </c:pt>
                <c:pt idx="5">
                  <c:v>83.024781</c:v>
                </c:pt>
                <c:pt idx="6">
                  <c:v>76.590634</c:v>
                </c:pt>
                <c:pt idx="7">
                  <c:v>86.145913</c:v>
                </c:pt>
                <c:pt idx="8">
                  <c:v>87.330946</c:v>
                </c:pt>
                <c:pt idx="9">
                  <c:v>90.166414</c:v>
                </c:pt>
                <c:pt idx="10">
                  <c:v>87.453934</c:v>
                </c:pt>
                <c:pt idx="11">
                  <c:v>92.458435</c:v>
                </c:pt>
                <c:pt idx="12">
                  <c:v>92.727776</c:v>
                </c:pt>
                <c:pt idx="13">
                  <c:v>86.986645</c:v>
                </c:pt>
                <c:pt idx="14">
                  <c:v>88.413031</c:v>
                </c:pt>
                <c:pt idx="15">
                  <c:v>85.975943</c:v>
                </c:pt>
                <c:pt idx="16">
                  <c:v>90.070521</c:v>
                </c:pt>
                <c:pt idx="17">
                  <c:v>83.860409</c:v>
                </c:pt>
                <c:pt idx="18">
                  <c:v>81.719552</c:v>
                </c:pt>
                <c:pt idx="19">
                  <c:v>89.256945</c:v>
                </c:pt>
                <c:pt idx="20">
                  <c:v>84.42347</c:v>
                </c:pt>
                <c:pt idx="21">
                  <c:v>91.085751</c:v>
                </c:pt>
                <c:pt idx="22">
                  <c:v>88.237118</c:v>
                </c:pt>
                <c:pt idx="23">
                  <c:v>93.176562</c:v>
                </c:pt>
                <c:pt idx="24">
                  <c:v>93.41611</c:v>
                </c:pt>
                <c:pt idx="25">
                  <c:v>88.274123</c:v>
                </c:pt>
                <c:pt idx="26">
                  <c:v>89.21127</c:v>
                </c:pt>
                <c:pt idx="27">
                  <c:v>87.768146</c:v>
                </c:pt>
                <c:pt idx="28">
                  <c:v>91.309151</c:v>
                </c:pt>
                <c:pt idx="29">
                  <c:v>25.117047</c:v>
                </c:pt>
                <c:pt idx="30">
                  <c:v>11.121602</c:v>
                </c:pt>
                <c:pt idx="31">
                  <c:v>12.455812</c:v>
                </c:pt>
                <c:pt idx="32">
                  <c:v>12.711899</c:v>
                </c:pt>
                <c:pt idx="33">
                  <c:v>13.402959</c:v>
                </c:pt>
                <c:pt idx="34">
                  <c:v>13.196824</c:v>
                </c:pt>
                <c:pt idx="35">
                  <c:v>13.676628</c:v>
                </c:pt>
              </c:numCache>
            </c:numRef>
          </c:val>
          <c:extLst xmlns:c15="http://schemas.microsoft.com/office/drawing/2012/chart">
            <c:ext xmlns:c16="http://schemas.microsoft.com/office/drawing/2014/chart" uri="{C3380CC4-5D6E-409C-BE32-E72D297353CC}">
              <c16:uniqueId val="{00000003-2D16-4906-BB22-77AF188F6975}"/>
            </c:ext>
          </c:extLst>
        </c:ser>
        <c:ser>
          <c:idx val="6"/>
          <c:order val="6"/>
          <c:tx>
            <c:strRef>
              <c:f>Sheet1!$F$1</c:f>
              <c:strCache>
                <c:ptCount val="1"/>
                <c:pt idx="0">
                  <c:v>Specialit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F$2:$F$37</c:f>
              <c:numCache>
                <c:formatCode>General</c:formatCode>
                <c:ptCount val="36"/>
                <c:pt idx="0">
                  <c:v>64.368548</c:v>
                </c:pt>
                <c:pt idx="1">
                  <c:v>69.641385</c:v>
                </c:pt>
                <c:pt idx="2">
                  <c:v>78.207183</c:v>
                </c:pt>
                <c:pt idx="3">
                  <c:v>78.651606</c:v>
                </c:pt>
                <c:pt idx="4">
                  <c:v>86.713914</c:v>
                </c:pt>
                <c:pt idx="5">
                  <c:v>77.060169</c:v>
                </c:pt>
                <c:pt idx="6">
                  <c:v>72.117103</c:v>
                </c:pt>
                <c:pt idx="7">
                  <c:v>76.667338</c:v>
                </c:pt>
                <c:pt idx="8">
                  <c:v>71.48979</c:v>
                </c:pt>
                <c:pt idx="9">
                  <c:v>69.673877</c:v>
                </c:pt>
                <c:pt idx="10">
                  <c:v>62.416513</c:v>
                </c:pt>
                <c:pt idx="11">
                  <c:v>68.363192</c:v>
                </c:pt>
                <c:pt idx="12">
                  <c:v>71.315972</c:v>
                </c:pt>
                <c:pt idx="13">
                  <c:v>71.807561</c:v>
                </c:pt>
                <c:pt idx="14">
                  <c:v>84.530189</c:v>
                </c:pt>
                <c:pt idx="15">
                  <c:v>85.255617</c:v>
                </c:pt>
                <c:pt idx="16">
                  <c:v>93.065143</c:v>
                </c:pt>
                <c:pt idx="17">
                  <c:v>79.321281</c:v>
                </c:pt>
                <c:pt idx="18">
                  <c:v>74.650186</c:v>
                </c:pt>
                <c:pt idx="19">
                  <c:v>81.044193</c:v>
                </c:pt>
                <c:pt idx="20">
                  <c:v>67.79715</c:v>
                </c:pt>
                <c:pt idx="21">
                  <c:v>70.305364</c:v>
                </c:pt>
                <c:pt idx="22">
                  <c:v>64.659417</c:v>
                </c:pt>
                <c:pt idx="23">
                  <c:v>67.747772</c:v>
                </c:pt>
                <c:pt idx="24">
                  <c:v>70.382536</c:v>
                </c:pt>
                <c:pt idx="25">
                  <c:v>77.670326</c:v>
                </c:pt>
                <c:pt idx="26">
                  <c:v>88.143822</c:v>
                </c:pt>
                <c:pt idx="27">
                  <c:v>83.620359</c:v>
                </c:pt>
                <c:pt idx="28">
                  <c:v>91.861143</c:v>
                </c:pt>
                <c:pt idx="29">
                  <c:v>23.472887</c:v>
                </c:pt>
                <c:pt idx="30">
                  <c:v>9.540098</c:v>
                </c:pt>
                <c:pt idx="31">
                  <c:v>9.872393</c:v>
                </c:pt>
                <c:pt idx="32">
                  <c:v>9.6113</c:v>
                </c:pt>
                <c:pt idx="33">
                  <c:v>9.621968</c:v>
                </c:pt>
                <c:pt idx="34">
                  <c:v>8.691354</c:v>
                </c:pt>
                <c:pt idx="35">
                  <c:v>9.568471</c:v>
                </c:pt>
              </c:numCache>
            </c:numRef>
          </c:val>
          <c:extLst xmlns:c15="http://schemas.microsoft.com/office/drawing/2012/chart">
            <c:ext xmlns:c16="http://schemas.microsoft.com/office/drawing/2014/chart" uri="{C3380CC4-5D6E-409C-BE32-E72D297353CC}">
              <c16:uniqueId val="{00000003-CB01-4B89-A725-1CA2D0FD4A84}"/>
            </c:ext>
          </c:extLst>
        </c:ser>
        <c:ser>
          <c:idx val="7"/>
          <c:order val="7"/>
          <c:tx>
            <c:strRef>
              <c:f>Sheet1!$G$1</c:f>
              <c:strCache>
                <c:ptCount val="1"/>
                <c:pt idx="0">
                  <c:v>Dessert</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G$2:$G$37</c:f>
              <c:numCache>
                <c:formatCode>General</c:formatCode>
                <c:ptCount val="36"/>
                <c:pt idx="0">
                  <c:v>9.695092</c:v>
                </c:pt>
                <c:pt idx="1">
                  <c:v>9.009209</c:v>
                </c:pt>
                <c:pt idx="2">
                  <c:v>10.119701</c:v>
                </c:pt>
                <c:pt idx="3">
                  <c:v>10.007521</c:v>
                </c:pt>
                <c:pt idx="4">
                  <c:v>14.984808</c:v>
                </c:pt>
                <c:pt idx="5">
                  <c:v>9.043617</c:v>
                </c:pt>
                <c:pt idx="6">
                  <c:v>9.929895</c:v>
                </c:pt>
                <c:pt idx="7">
                  <c:v>13.732693</c:v>
                </c:pt>
                <c:pt idx="8">
                  <c:v>17.615423</c:v>
                </c:pt>
                <c:pt idx="9">
                  <c:v>14.350008</c:v>
                </c:pt>
                <c:pt idx="10">
                  <c:v>12.284538</c:v>
                </c:pt>
                <c:pt idx="11">
                  <c:v>12.318794</c:v>
                </c:pt>
                <c:pt idx="12">
                  <c:v>11.978807</c:v>
                </c:pt>
                <c:pt idx="13">
                  <c:v>10.436495</c:v>
                </c:pt>
                <c:pt idx="14">
                  <c:v>11.897019</c:v>
                </c:pt>
                <c:pt idx="15">
                  <c:v>11.201368</c:v>
                </c:pt>
                <c:pt idx="16">
                  <c:v>17.616166</c:v>
                </c:pt>
                <c:pt idx="17">
                  <c:v>9.297061</c:v>
                </c:pt>
                <c:pt idx="18">
                  <c:v>11.087387</c:v>
                </c:pt>
                <c:pt idx="19">
                  <c:v>17.762105</c:v>
                </c:pt>
                <c:pt idx="20">
                  <c:v>14.339792</c:v>
                </c:pt>
                <c:pt idx="21">
                  <c:v>14.606038</c:v>
                </c:pt>
                <c:pt idx="22">
                  <c:v>12.70912</c:v>
                </c:pt>
                <c:pt idx="23">
                  <c:v>12.203745</c:v>
                </c:pt>
                <c:pt idx="24">
                  <c:v>12.494519</c:v>
                </c:pt>
                <c:pt idx="25">
                  <c:v>10.923145</c:v>
                </c:pt>
                <c:pt idx="26">
                  <c:v>12.052686</c:v>
                </c:pt>
                <c:pt idx="27">
                  <c:v>11.566885</c:v>
                </c:pt>
                <c:pt idx="28">
                  <c:v>18.207536</c:v>
                </c:pt>
                <c:pt idx="29">
                  <c:v>3.909394</c:v>
                </c:pt>
                <c:pt idx="30">
                  <c:v>1.475345</c:v>
                </c:pt>
                <c:pt idx="31">
                  <c:v>2.246893</c:v>
                </c:pt>
                <c:pt idx="32">
                  <c:v>2.296757</c:v>
                </c:pt>
                <c:pt idx="33">
                  <c:v>2.124334</c:v>
                </c:pt>
                <c:pt idx="34">
                  <c:v>1.78319</c:v>
                </c:pt>
                <c:pt idx="35">
                  <c:v>1.772824</c:v>
                </c:pt>
              </c:numCache>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H$1</c:f>
              <c:strCache>
                <c:ptCount val="1"/>
                <c:pt idx="0">
                  <c:v>Rap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H$2:$H$37</c:f>
              <c:numCache>
                <c:formatCode>General</c:formatCode>
                <c:ptCount val="36"/>
                <c:pt idx="0">
                  <c:v>122.597365</c:v>
                </c:pt>
                <c:pt idx="1">
                  <c:v>136.242682</c:v>
                </c:pt>
                <c:pt idx="2">
                  <c:v>147.465428</c:v>
                </c:pt>
                <c:pt idx="3">
                  <c:v>148.497752</c:v>
                </c:pt>
                <c:pt idx="4">
                  <c:v>147.383479</c:v>
                </c:pt>
                <c:pt idx="5">
                  <c:v>158.056824</c:v>
                </c:pt>
                <c:pt idx="6">
                  <c:v>145.001342</c:v>
                </c:pt>
                <c:pt idx="7">
                  <c:v>160.429745</c:v>
                </c:pt>
                <c:pt idx="8">
                  <c:v>155.710594</c:v>
                </c:pt>
                <c:pt idx="9">
                  <c:v>147.49858</c:v>
                </c:pt>
                <c:pt idx="10">
                  <c:v>126.340722</c:v>
                </c:pt>
                <c:pt idx="11">
                  <c:v>136.485102</c:v>
                </c:pt>
                <c:pt idx="12">
                  <c:v>146.747722</c:v>
                </c:pt>
                <c:pt idx="13">
                  <c:v>148.811405</c:v>
                </c:pt>
                <c:pt idx="14">
                  <c:v>164.889148</c:v>
                </c:pt>
                <c:pt idx="15">
                  <c:v>163.587456</c:v>
                </c:pt>
                <c:pt idx="16">
                  <c:v>162.526005</c:v>
                </c:pt>
                <c:pt idx="17">
                  <c:v>166.92447</c:v>
                </c:pt>
                <c:pt idx="18">
                  <c:v>157.691189</c:v>
                </c:pt>
                <c:pt idx="19">
                  <c:v>171.716787</c:v>
                </c:pt>
                <c:pt idx="20">
                  <c:v>154.708415</c:v>
                </c:pt>
                <c:pt idx="21">
                  <c:v>155.567786</c:v>
                </c:pt>
                <c:pt idx="22">
                  <c:v>140.935533</c:v>
                </c:pt>
                <c:pt idx="23">
                  <c:v>138.978488</c:v>
                </c:pt>
                <c:pt idx="24">
                  <c:v>143.311077</c:v>
                </c:pt>
                <c:pt idx="25">
                  <c:v>160.838087</c:v>
                </c:pt>
                <c:pt idx="26">
                  <c:v>167.767505</c:v>
                </c:pt>
                <c:pt idx="27">
                  <c:v>167.259941</c:v>
                </c:pt>
                <c:pt idx="28">
                  <c:v>163.440236</c:v>
                </c:pt>
                <c:pt idx="29">
                  <c:v>49.032638</c:v>
                </c:pt>
                <c:pt idx="30">
                  <c:v>21.244485</c:v>
                </c:pt>
                <c:pt idx="31">
                  <c:v>23.29611</c:v>
                </c:pt>
                <c:pt idx="32">
                  <c:v>21.712185</c:v>
                </c:pt>
                <c:pt idx="33">
                  <c:v>21.347703</c:v>
                </c:pt>
                <c:pt idx="34">
                  <c:v>18.165965</c:v>
                </c:pt>
                <c:pt idx="35">
                  <c:v>19.953191</c:v>
                </c:pt>
              </c:numCache>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I$1</c:f>
              <c:strCache>
                <c:ptCount val="1"/>
                <c:pt idx="0">
                  <c:v>Plat Chaud</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I$2:$I$37</c:f>
              <c:numCache>
                <c:formatCode>General</c:formatCode>
                <c:ptCount val="36"/>
                <c:pt idx="0">
                  <c:v>12.494163</c:v>
                </c:pt>
                <c:pt idx="1">
                  <c:v>42.484751</c:v>
                </c:pt>
                <c:pt idx="2">
                  <c:v>92.058889</c:v>
                </c:pt>
                <c:pt idx="3">
                  <c:v>103.422856</c:v>
                </c:pt>
                <c:pt idx="4">
                  <c:v>103.490282</c:v>
                </c:pt>
                <c:pt idx="5">
                  <c:v>91.418295</c:v>
                </c:pt>
                <c:pt idx="6">
                  <c:v>71.670119</c:v>
                </c:pt>
                <c:pt idx="7">
                  <c:v>50.432601</c:v>
                </c:pt>
                <c:pt idx="8">
                  <c:v>26.842703</c:v>
                </c:pt>
                <c:pt idx="9">
                  <c:v>16.720174</c:v>
                </c:pt>
                <c:pt idx="10">
                  <c:v>10.689548</c:v>
                </c:pt>
                <c:pt idx="11">
                  <c:v>13.155312</c:v>
                </c:pt>
                <c:pt idx="12">
                  <c:v>15.64366</c:v>
                </c:pt>
                <c:pt idx="13">
                  <c:v>27.01682</c:v>
                </c:pt>
                <c:pt idx="14">
                  <c:v>94.235439</c:v>
                </c:pt>
                <c:pt idx="15">
                  <c:v>120.192213</c:v>
                </c:pt>
                <c:pt idx="16">
                  <c:v>116.931645</c:v>
                </c:pt>
                <c:pt idx="17">
                  <c:v>96.07238</c:v>
                </c:pt>
                <c:pt idx="18">
                  <c:v>70.013467</c:v>
                </c:pt>
                <c:pt idx="19">
                  <c:v>48.652291</c:v>
                </c:pt>
                <c:pt idx="20">
                  <c:v>24.65525</c:v>
                </c:pt>
                <c:pt idx="21">
                  <c:v>18.511104</c:v>
                </c:pt>
                <c:pt idx="22">
                  <c:v>13.56432</c:v>
                </c:pt>
                <c:pt idx="23">
                  <c:v>12.61502</c:v>
                </c:pt>
                <c:pt idx="24">
                  <c:v>12.757618</c:v>
                </c:pt>
                <c:pt idx="25">
                  <c:v>44.491642</c:v>
                </c:pt>
                <c:pt idx="26">
                  <c:v>108.932046</c:v>
                </c:pt>
                <c:pt idx="27">
                  <c:v>116.654293</c:v>
                </c:pt>
                <c:pt idx="28">
                  <c:v>117.422757</c:v>
                </c:pt>
                <c:pt idx="29">
                  <c:v>34.116039</c:v>
                </c:pt>
                <c:pt idx="30">
                  <c:v>11.216838</c:v>
                </c:pt>
                <c:pt idx="31">
                  <c:v>6.236555</c:v>
                </c:pt>
                <c:pt idx="32">
                  <c:v>2.781937</c:v>
                </c:pt>
                <c:pt idx="33">
                  <c:v>2.39267</c:v>
                </c:pt>
                <c:pt idx="34">
                  <c:v>1.428249</c:v>
                </c:pt>
                <c:pt idx="35">
                  <c:v>1.601689</c:v>
                </c:pt>
              </c:numCache>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J$1</c:f>
              <c:strCache>
                <c:ptCount val="1"/>
                <c:pt idx="0">
                  <c:v>Pate Persille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J$2:$J$37</c:f>
              <c:numCache>
                <c:formatCode>General</c:formatCode>
                <c:ptCount val="36"/>
                <c:pt idx="0">
                  <c:v>27.458513</c:v>
                </c:pt>
                <c:pt idx="1">
                  <c:v>28.218703</c:v>
                </c:pt>
                <c:pt idx="2">
                  <c:v>30.471259</c:v>
                </c:pt>
                <c:pt idx="3">
                  <c:v>30.744222</c:v>
                </c:pt>
                <c:pt idx="4">
                  <c:v>35.086502</c:v>
                </c:pt>
                <c:pt idx="5">
                  <c:v>30.216991</c:v>
                </c:pt>
                <c:pt idx="6">
                  <c:v>28.164453</c:v>
                </c:pt>
                <c:pt idx="7">
                  <c:v>30.907468</c:v>
                </c:pt>
                <c:pt idx="8">
                  <c:v>30.136486</c:v>
                </c:pt>
                <c:pt idx="9">
                  <c:v>29.894388</c:v>
                </c:pt>
                <c:pt idx="10">
                  <c:v>26.949943</c:v>
                </c:pt>
                <c:pt idx="11">
                  <c:v>28.188628</c:v>
                </c:pt>
                <c:pt idx="12">
                  <c:v>29.258549</c:v>
                </c:pt>
                <c:pt idx="13">
                  <c:v>28.379079</c:v>
                </c:pt>
                <c:pt idx="14">
                  <c:v>32.717201</c:v>
                </c:pt>
                <c:pt idx="15">
                  <c:v>32.090434</c:v>
                </c:pt>
                <c:pt idx="16">
                  <c:v>36.888794</c:v>
                </c:pt>
                <c:pt idx="17">
                  <c:v>29.415692</c:v>
                </c:pt>
                <c:pt idx="18">
                  <c:v>28.749609</c:v>
                </c:pt>
                <c:pt idx="19">
                  <c:v>32.594496</c:v>
                </c:pt>
                <c:pt idx="20">
                  <c:v>27.934044</c:v>
                </c:pt>
                <c:pt idx="21">
                  <c:v>29.737845</c:v>
                </c:pt>
                <c:pt idx="22">
                  <c:v>26.37194</c:v>
                </c:pt>
                <c:pt idx="23">
                  <c:v>26.733508</c:v>
                </c:pt>
                <c:pt idx="24">
                  <c:v>27.740072</c:v>
                </c:pt>
                <c:pt idx="25">
                  <c:v>28.190036</c:v>
                </c:pt>
                <c:pt idx="26">
                  <c:v>32.013129</c:v>
                </c:pt>
                <c:pt idx="27">
                  <c:v>30.86475</c:v>
                </c:pt>
                <c:pt idx="28">
                  <c:v>35.55164</c:v>
                </c:pt>
                <c:pt idx="29">
                  <c:v>8.847563</c:v>
                </c:pt>
                <c:pt idx="30">
                  <c:v>4.598404</c:v>
                </c:pt>
                <c:pt idx="31">
                  <c:v>4.556748</c:v>
                </c:pt>
                <c:pt idx="32">
                  <c:v>4.913078</c:v>
                </c:pt>
                <c:pt idx="33">
                  <c:v>4.475975</c:v>
                </c:pt>
                <c:pt idx="34">
                  <c:v>3.834501</c:v>
                </c:pt>
                <c:pt idx="35">
                  <c:v>4.201496</c:v>
                </c:pt>
              </c:numCache>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K$1</c:f>
              <c:strCache>
                <c:ptCount val="1"/>
                <c:pt idx="0">
                  <c:v>Ingredient A Chaud</c:v>
                </c:pt>
              </c:strCache>
            </c:strRef>
          </c:tx>
          <c:spPr>
            <a:solidFill>
              <a:srgbClr val="00504B"/>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K$2:$K$37</c:f>
              <c:numCache>
                <c:formatCode>General</c:formatCode>
                <c:ptCount val="36"/>
                <c:pt idx="0">
                  <c:v>17.35893</c:v>
                </c:pt>
                <c:pt idx="1">
                  <c:v>19.13273</c:v>
                </c:pt>
                <c:pt idx="2">
                  <c:v>21.100732</c:v>
                </c:pt>
                <c:pt idx="3">
                  <c:v>20.938507</c:v>
                </c:pt>
                <c:pt idx="4">
                  <c:v>20.076255</c:v>
                </c:pt>
                <c:pt idx="5">
                  <c:v>22.475374</c:v>
                </c:pt>
                <c:pt idx="6">
                  <c:v>21.939658</c:v>
                </c:pt>
                <c:pt idx="7">
                  <c:v>25.04371</c:v>
                </c:pt>
                <c:pt idx="8">
                  <c:v>24.405487</c:v>
                </c:pt>
                <c:pt idx="9">
                  <c:v>22.478243</c:v>
                </c:pt>
                <c:pt idx="10">
                  <c:v>20.005017</c:v>
                </c:pt>
                <c:pt idx="11">
                  <c:v>21.531632</c:v>
                </c:pt>
                <c:pt idx="12">
                  <c:v>21.869467</c:v>
                </c:pt>
                <c:pt idx="13">
                  <c:v>21.924359</c:v>
                </c:pt>
                <c:pt idx="14">
                  <c:v>24.534242</c:v>
                </c:pt>
                <c:pt idx="15">
                  <c:v>23.485538</c:v>
                </c:pt>
                <c:pt idx="16">
                  <c:v>22.743444</c:v>
                </c:pt>
                <c:pt idx="17">
                  <c:v>23.732546</c:v>
                </c:pt>
                <c:pt idx="18">
                  <c:v>23.679659</c:v>
                </c:pt>
                <c:pt idx="19">
                  <c:v>27.247292</c:v>
                </c:pt>
                <c:pt idx="20">
                  <c:v>24.017444</c:v>
                </c:pt>
                <c:pt idx="21">
                  <c:v>23.457081</c:v>
                </c:pt>
                <c:pt idx="22">
                  <c:v>21.887098</c:v>
                </c:pt>
                <c:pt idx="23">
                  <c:v>21.435116</c:v>
                </c:pt>
                <c:pt idx="24">
                  <c:v>21.462901</c:v>
                </c:pt>
                <c:pt idx="25">
                  <c:v>23.025898</c:v>
                </c:pt>
                <c:pt idx="26">
                  <c:v>24.968884</c:v>
                </c:pt>
                <c:pt idx="27">
                  <c:v>23.834431</c:v>
                </c:pt>
                <c:pt idx="28">
                  <c:v>22.713393</c:v>
                </c:pt>
                <c:pt idx="29">
                  <c:v>6.478103</c:v>
                </c:pt>
                <c:pt idx="30">
                  <c:v>3.194202</c:v>
                </c:pt>
                <c:pt idx="31">
                  <c:v>3.623415</c:v>
                </c:pt>
                <c:pt idx="32">
                  <c:v>3.088754</c:v>
                </c:pt>
                <c:pt idx="33">
                  <c:v>2.834696</c:v>
                </c:pt>
                <c:pt idx="34">
                  <c:v>2.598551</c:v>
                </c:pt>
                <c:pt idx="35">
                  <c:v>2.697366</c:v>
                </c:pt>
              </c:numCache>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L$1</c:f>
              <c:strCache>
                <c:ptCount val="1"/>
                <c:pt idx="0">
                  <c:v>Alternative Vegetal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L$2:$L$37</c:f>
              <c:numCache>
                <c:formatCode>General</c:formatCode>
                <c:ptCount val="36"/>
                <c:pt idx="0">
                  <c:v>0.701249</c:v>
                </c:pt>
                <c:pt idx="1">
                  <c:v>0.676071</c:v>
                </c:pt>
                <c:pt idx="2">
                  <c:v>0.711483</c:v>
                </c:pt>
                <c:pt idx="3">
                  <c:v>0.717027</c:v>
                </c:pt>
                <c:pt idx="4">
                  <c:v>0.773516</c:v>
                </c:pt>
                <c:pt idx="5">
                  <c:v>0.779501</c:v>
                </c:pt>
                <c:pt idx="6">
                  <c:v>0.763701</c:v>
                </c:pt>
                <c:pt idx="7">
                  <c:v>0.829516</c:v>
                </c:pt>
                <c:pt idx="8">
                  <c:v>0.780253</c:v>
                </c:pt>
                <c:pt idx="9">
                  <c:v>0.800255</c:v>
                </c:pt>
                <c:pt idx="10">
                  <c:v>0.836317</c:v>
                </c:pt>
                <c:pt idx="11">
                  <c:v>1.016173</c:v>
                </c:pt>
                <c:pt idx="12">
                  <c:v>0.956295</c:v>
                </c:pt>
                <c:pt idx="13">
                  <c:v>0.872258</c:v>
                </c:pt>
                <c:pt idx="14">
                  <c:v>0.940113</c:v>
                </c:pt>
                <c:pt idx="15">
                  <c:v>0.899431</c:v>
                </c:pt>
                <c:pt idx="16">
                  <c:v>1.045271</c:v>
                </c:pt>
                <c:pt idx="17">
                  <c:v>1.04438</c:v>
                </c:pt>
                <c:pt idx="18">
                  <c:v>0.938428</c:v>
                </c:pt>
                <c:pt idx="19">
                  <c:v>0.937672</c:v>
                </c:pt>
                <c:pt idx="20">
                  <c:v>1.031203</c:v>
                </c:pt>
                <c:pt idx="21">
                  <c:v>1.043951</c:v>
                </c:pt>
                <c:pt idx="22">
                  <c:v>1.06573</c:v>
                </c:pt>
                <c:pt idx="23">
                  <c:v>1.143947</c:v>
                </c:pt>
                <c:pt idx="24">
                  <c:v>1.176338</c:v>
                </c:pt>
                <c:pt idx="25">
                  <c:v>1.109033</c:v>
                </c:pt>
                <c:pt idx="26">
                  <c:v>1.130834</c:v>
                </c:pt>
                <c:pt idx="27">
                  <c:v>1.084403</c:v>
                </c:pt>
                <c:pt idx="28">
                  <c:v>1.101977</c:v>
                </c:pt>
                <c:pt idx="29">
                  <c:v>1.170511</c:v>
                </c:pt>
                <c:pt idx="30">
                  <c:v>0.997609</c:v>
                </c:pt>
                <c:pt idx="31">
                  <c:v>1.292587</c:v>
                </c:pt>
                <c:pt idx="32">
                  <c:v>1.143317</c:v>
                </c:pt>
                <c:pt idx="33">
                  <c:v>1.12722</c:v>
                </c:pt>
                <c:pt idx="34">
                  <c:v>1.086566</c:v>
                </c:pt>
                <c:pt idx="35">
                  <c:v>1.221035</c:v>
                </c:pt>
              </c:numCache>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M$1</c:f>
              <c:strCache>
                <c:ptCount val="1"/>
                <c:pt idx="0">
                  <c:v>Cheese With Soft Textur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M$2:$M$9</c:f>
              <c:numCache>
                <c:formatCode>General</c:formatCode>
                <c:ptCount val="8"/>
                <c:pt idx="0">
                  <c:v>3.9e-05</c:v>
                </c:pt>
                <c:pt idx="1">
                  <c:v>0.00024</c:v>
                </c:pt>
                <c:pt idx="2">
                  <c:v>0.001043</c:v>
                </c:pt>
                <c:pt idx="3">
                  <c:v>0.00205</c:v>
                </c:pt>
                <c:pt idx="4">
                  <c:v>0.000467</c:v>
                </c:pt>
                <c:pt idx="5">
                  <c:v>0.000597</c:v>
                </c:pt>
                <c:pt idx="6">
                  <c:v>0.000474</c:v>
                </c:pt>
                <c:pt idx="7">
                  <c:v>0.004826</c:v>
                </c:pt>
              </c:numCache>
            </c:numRef>
          </c:val>
          <c:extLst>
            <c:ext xmlns:c16="http://schemas.microsoft.com/office/drawing/2014/chart" uri="{C3380CC4-5D6E-409C-BE32-E72D297353CC}">
              <c16:uniqueId val="{0000000A-CB01-4B89-A725-1CA2D0FD4A84}"/>
            </c:ext>
          </c:extLst>
        </c:ser>
        <c:ser>
          <c:idx val="14"/>
          <c:order val="14"/>
          <c:tx>
            <c:strRef>
              <c:f>Sheet1!$N$1</c:f>
              <c:strCache>
                <c:ptCount val="1"/>
                <c:pt idx="0">
                  <c:v>Cheese With Hard And Semi-Hard Textur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N$2:$N$5</c:f>
              <c:numCache>
                <c:formatCode>General</c:formatCode>
                <c:ptCount val="4"/>
                <c:pt idx="0">
                  <c:v>0.000129</c:v>
                </c:pt>
                <c:pt idx="1">
                  <c:v>0.000108</c:v>
                </c:pt>
                <c:pt idx="2">
                  <c:v>0.000401</c:v>
                </c:pt>
                <c:pt idx="3">
                  <c:v>2.4e-05</c:v>
                </c:pt>
              </c:numCache>
            </c:numRef>
          </c:val>
          <c:extLst>
            <c:ext xmlns:c16="http://schemas.microsoft.com/office/drawing/2014/chart" uri="{C3380CC4-5D6E-409C-BE32-E72D297353CC}">
              <c16:uniqueId val="{0000000B-CB01-4B89-A725-1CA2D0FD4A84}"/>
            </c:ext>
          </c:extLst>
        </c:ser>
        <c:ser>
          <c:idx val="15"/>
          <c:order val="15"/>
          <c:tx>
            <c:strRef>
              <c:f>Sheet1!$O$1</c:f>
              <c:strCache>
                <c:ptCount val="1"/>
                <c:pt idx="0">
                  <c:v>Snack</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O$2:$O$4</c:f>
              <c:numCache>
                <c:formatCode>General</c:formatCode>
                <c:ptCount val="3"/>
                <c:pt idx="0">
                  <c:v>0.005785</c:v>
                </c:pt>
                <c:pt idx="1">
                  <c:v>0.010796</c:v>
                </c:pt>
                <c:pt idx="2">
                  <c:v>0.013958</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P$1</c:f>
              <c:strCache>
                <c:ptCount val="1"/>
                <c:pt idx="0">
                  <c:v>Total</c:v>
                </c:pt>
              </c:strCache>
            </c:strRef>
          </c:tx>
          <c:spPr>
            <a:solidFill>
              <a:srgbClr val="7F7F7F"/>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P$2:$P$37</c:f>
              <c:numCache>
                <c:formatCode>General</c:formatCode>
                <c:ptCount val="36"/>
                <c:pt idx="0">
                  <c:v>750.549036</c:v>
                </c:pt>
                <c:pt idx="1">
                  <c:v>742.805158</c:v>
                </c:pt>
                <c:pt idx="2">
                  <c:v>804.231628</c:v>
                </c:pt>
                <c:pt idx="3">
                  <c:v>801.711681</c:v>
                </c:pt>
                <c:pt idx="4">
                  <c:v>849.449773</c:v>
                </c:pt>
                <c:pt idx="5">
                  <c:v>799.813879</c:v>
                </c:pt>
                <c:pt idx="6">
                  <c:v>738.66757</c:v>
                </c:pt>
                <c:pt idx="7">
                  <c:v>806.84766</c:v>
                </c:pt>
                <c:pt idx="8">
                  <c:v>797.972733</c:v>
                </c:pt>
                <c:pt idx="9">
                  <c:v>813.180846</c:v>
                </c:pt>
                <c:pt idx="10">
                  <c:v>782.73566</c:v>
                </c:pt>
                <c:pt idx="11">
                  <c:v>844.509757</c:v>
                </c:pt>
                <c:pt idx="12">
                  <c:v>858.765113</c:v>
                </c:pt>
                <c:pt idx="13">
                  <c:v>805.071958</c:v>
                </c:pt>
                <c:pt idx="14">
                  <c:v>882.968028</c:v>
                </c:pt>
                <c:pt idx="15">
                  <c:v>873.582752</c:v>
                </c:pt>
                <c:pt idx="16">
                  <c:v>931.908546</c:v>
                </c:pt>
                <c:pt idx="17">
                  <c:v>827.689707</c:v>
                </c:pt>
                <c:pt idx="18">
                  <c:v>786.973677</c:v>
                </c:pt>
                <c:pt idx="19">
                  <c:v>858.399268</c:v>
                </c:pt>
                <c:pt idx="20">
                  <c:v>780.77589</c:v>
                </c:pt>
                <c:pt idx="21">
                  <c:v>837.856932</c:v>
                </c:pt>
                <c:pt idx="22">
                  <c:v>805.57465</c:v>
                </c:pt>
                <c:pt idx="23">
                  <c:v>851.028643</c:v>
                </c:pt>
                <c:pt idx="24">
                  <c:v>871.008397</c:v>
                </c:pt>
                <c:pt idx="25">
                  <c:v>842.494235</c:v>
                </c:pt>
                <c:pt idx="26">
                  <c:v>906.039737</c:v>
                </c:pt>
                <c:pt idx="27">
                  <c:v>885.39025</c:v>
                </c:pt>
                <c:pt idx="28">
                  <c:v>988.085608</c:v>
                </c:pt>
                <c:pt idx="29">
                  <c:v>504.284485</c:v>
                </c:pt>
                <c:pt idx="30">
                  <c:v>376.957576</c:v>
                </c:pt>
                <c:pt idx="31">
                  <c:v>420.907696</c:v>
                </c:pt>
                <c:pt idx="32">
                  <c:v>440.95083</c:v>
                </c:pt>
                <c:pt idx="33">
                  <c:v>488.824424</c:v>
                </c:pt>
                <c:pt idx="34">
                  <c:v>510.088896</c:v>
                </c:pt>
                <c:pt idx="35">
                  <c:v>539.036145</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5"/>
          <c:order val="5"/>
          <c:tx>
            <c:strRef>
              <c:f>Sheet1!$B$1</c:f>
              <c:strCache>
                <c:ptCount val="1"/>
                <c:pt idx="0">
                  <c:v>Aperitif</c:v>
                </c:pt>
              </c:strCache>
            </c:strRef>
          </c:tx>
          <c:spPr>
            <a:solidFill>
              <a:srgbClr val="00A097"/>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B$2:$B$37</c:f>
              <c:numCache>
                <c:formatCode>General</c:formatCode>
                <c:ptCount val="36"/>
                <c:pt idx="0">
                  <c:v>3.311084</c:v>
                </c:pt>
                <c:pt idx="1">
                  <c:v>2.564281</c:v>
                </c:pt>
                <c:pt idx="2">
                  <c:v>2.546023</c:v>
                </c:pt>
                <c:pt idx="3">
                  <c:v>2.69129</c:v>
                </c:pt>
                <c:pt idx="4">
                  <c:v>6.352075</c:v>
                </c:pt>
                <c:pt idx="5">
                  <c:v>2.736073</c:v>
                </c:pt>
                <c:pt idx="6">
                  <c:v>2.457764</c:v>
                </c:pt>
                <c:pt idx="7">
                  <c:v>2.335683</c:v>
                </c:pt>
                <c:pt idx="8">
                  <c:v>2.976221</c:v>
                </c:pt>
                <c:pt idx="9">
                  <c:v>2.62032</c:v>
                </c:pt>
                <c:pt idx="10">
                  <c:v>2.952459</c:v>
                </c:pt>
                <c:pt idx="11">
                  <c:v>3.400511</c:v>
                </c:pt>
                <c:pt idx="12">
                  <c:v>3.088242</c:v>
                </c:pt>
                <c:pt idx="13">
                  <c:v>2.515106</c:v>
                </c:pt>
                <c:pt idx="14">
                  <c:v>2.380332</c:v>
                </c:pt>
                <c:pt idx="15">
                  <c:v>2.406698</c:v>
                </c:pt>
                <c:pt idx="16">
                  <c:v>6.32904</c:v>
                </c:pt>
                <c:pt idx="17">
                  <c:v>2.245517</c:v>
                </c:pt>
                <c:pt idx="18">
                  <c:v>2.194954</c:v>
                </c:pt>
                <c:pt idx="19">
                  <c:v>2.885586</c:v>
                </c:pt>
                <c:pt idx="20">
                  <c:v>2.224614</c:v>
                </c:pt>
                <c:pt idx="21">
                  <c:v>2.558119</c:v>
                </c:pt>
                <c:pt idx="22">
                  <c:v>2.756739</c:v>
                </c:pt>
                <c:pt idx="23">
                  <c:v>3.249868</c:v>
                </c:pt>
                <c:pt idx="24">
                  <c:v>3.143269</c:v>
                </c:pt>
                <c:pt idx="25">
                  <c:v>2.134263</c:v>
                </c:pt>
                <c:pt idx="26">
                  <c:v>2.455801</c:v>
                </c:pt>
                <c:pt idx="27">
                  <c:v>2.506912</c:v>
                </c:pt>
                <c:pt idx="28">
                  <c:v>6.72115</c:v>
                </c:pt>
                <c:pt idx="29">
                  <c:v>2.901557</c:v>
                </c:pt>
                <c:pt idx="30">
                  <c:v>2.39933</c:v>
                </c:pt>
                <c:pt idx="31">
                  <c:v>2.600763</c:v>
                </c:pt>
                <c:pt idx="32">
                  <c:v>3.489127</c:v>
                </c:pt>
                <c:pt idx="33">
                  <c:v>3.383009</c:v>
                </c:pt>
                <c:pt idx="34">
                  <c:v>3.268679</c:v>
                </c:pt>
                <c:pt idx="35">
                  <c:v>3.651987</c:v>
                </c:pt>
              </c:numCache>
            </c:numRef>
          </c:val>
          <c:extLst xmlns:c15="http://schemas.microsoft.com/office/drawing/2012/chart">
            <c:ext xmlns:c16="http://schemas.microsoft.com/office/drawing/2014/chart" uri="{C3380CC4-5D6E-409C-BE32-E72D297353CC}">
              <c16:uniqueId val="{00000003-2D16-4906-BB22-77AF188F6975}"/>
            </c:ext>
          </c:extLst>
        </c:ser>
        <c:ser>
          <c:idx val="6"/>
          <c:order val="6"/>
          <c:tx>
            <c:strRef>
              <c:f>Sheet1!$C$1</c:f>
              <c:strCache>
                <c:ptCount val="1"/>
                <c:pt idx="0">
                  <c:v>Soft Cheese</c:v>
                </c:pt>
              </c:strCache>
            </c:strRef>
          </c:tx>
          <c:spPr>
            <a:solidFill>
              <a:srgbClr val="7ECAC4"/>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C$2:$C$37</c:f>
              <c:numCache>
                <c:formatCode>General</c:formatCode>
                <c:ptCount val="36"/>
                <c:pt idx="0">
                  <c:v>61.595273</c:v>
                </c:pt>
                <c:pt idx="1">
                  <c:v>52.960985</c:v>
                </c:pt>
                <c:pt idx="2">
                  <c:v>49.888349</c:v>
                </c:pt>
                <c:pt idx="3">
                  <c:v>47.443732</c:v>
                </c:pt>
                <c:pt idx="4">
                  <c:v>49.315745</c:v>
                </c:pt>
                <c:pt idx="5">
                  <c:v>49.056789</c:v>
                </c:pt>
                <c:pt idx="6">
                  <c:v>45.768817</c:v>
                </c:pt>
                <c:pt idx="7">
                  <c:v>55.762711</c:v>
                </c:pt>
                <c:pt idx="8">
                  <c:v>58.255585</c:v>
                </c:pt>
                <c:pt idx="9">
                  <c:v>63.028408</c:v>
                </c:pt>
                <c:pt idx="10">
                  <c:v>65.841211</c:v>
                </c:pt>
                <c:pt idx="11">
                  <c:v>69.007197</c:v>
                </c:pt>
                <c:pt idx="12">
                  <c:v>68.915899</c:v>
                </c:pt>
                <c:pt idx="13">
                  <c:v>61.081275</c:v>
                </c:pt>
                <c:pt idx="14">
                  <c:v>55.637529</c:v>
                </c:pt>
                <c:pt idx="15">
                  <c:v>49.645719</c:v>
                </c:pt>
                <c:pt idx="16">
                  <c:v>53.553794</c:v>
                </c:pt>
                <c:pt idx="17">
                  <c:v>48.913264</c:v>
                </c:pt>
                <c:pt idx="18">
                  <c:v>48.654036</c:v>
                </c:pt>
                <c:pt idx="19">
                  <c:v>57.258085</c:v>
                </c:pt>
                <c:pt idx="20">
                  <c:v>56.011379</c:v>
                </c:pt>
                <c:pt idx="21">
                  <c:v>62.507702</c:v>
                </c:pt>
                <c:pt idx="22">
                  <c:v>63.336525</c:v>
                </c:pt>
                <c:pt idx="23">
                  <c:v>67.086375</c:v>
                </c:pt>
                <c:pt idx="24">
                  <c:v>69.227525</c:v>
                </c:pt>
                <c:pt idx="25">
                  <c:v>58.079967</c:v>
                </c:pt>
                <c:pt idx="26">
                  <c:v>54.118177</c:v>
                </c:pt>
                <c:pt idx="27">
                  <c:v>52.567161</c:v>
                </c:pt>
                <c:pt idx="28">
                  <c:v>70.229764</c:v>
                </c:pt>
                <c:pt idx="29">
                  <c:v>56.8619</c:v>
                </c:pt>
                <c:pt idx="30">
                  <c:v>51.541069</c:v>
                </c:pt>
                <c:pt idx="31">
                  <c:v>59.270893</c:v>
                </c:pt>
                <c:pt idx="32">
                  <c:v>60.902448</c:v>
                </c:pt>
                <c:pt idx="33">
                  <c:v>69.590316</c:v>
                </c:pt>
                <c:pt idx="34">
                  <c:v>74.602824</c:v>
                </c:pt>
                <c:pt idx="35">
                  <c:v>77.697976</c:v>
                </c:pt>
              </c:numCache>
            </c:numRef>
          </c:val>
          <c:extLst xmlns:c15="http://schemas.microsoft.com/office/drawing/2012/chart">
            <c:ext xmlns:c16="http://schemas.microsoft.com/office/drawing/2014/chart" uri="{C3380CC4-5D6E-409C-BE32-E72D297353CC}">
              <c16:uniqueId val="{00000003-CB01-4B89-A725-1CA2D0FD4A84}"/>
            </c:ext>
          </c:extLst>
        </c:ser>
        <c:ser>
          <c:idx val="7"/>
          <c:order val="7"/>
          <c:tx>
            <c:strRef>
              <c:f>Sheet1!$D$1</c:f>
              <c:strCache>
                <c:ptCount val="1"/>
                <c:pt idx="0">
                  <c:v>Tranche A Froid</c:v>
                </c:pt>
              </c:strCache>
            </c:strRef>
          </c:tx>
          <c:spPr>
            <a:solidFill>
              <a:srgbClr val="A6A6A6"/>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D$2:$D$37</c:f>
              <c:numCache>
                <c:formatCode>General</c:formatCode>
                <c:ptCount val="36"/>
                <c:pt idx="0">
                  <c:v>4.345106</c:v>
                </c:pt>
                <c:pt idx="1">
                  <c:v>5.136399</c:v>
                </c:pt>
                <c:pt idx="2">
                  <c:v>4.853879</c:v>
                </c:pt>
                <c:pt idx="3">
                  <c:v>4.954206</c:v>
                </c:pt>
                <c:pt idx="4">
                  <c:v>5.045055</c:v>
                </c:pt>
                <c:pt idx="5">
                  <c:v>5.877442</c:v>
                </c:pt>
                <c:pt idx="6">
                  <c:v>6.180457</c:v>
                </c:pt>
                <c:pt idx="7">
                  <c:v>5.596676</c:v>
                </c:pt>
                <c:pt idx="8">
                  <c:v>5.594499</c:v>
                </c:pt>
                <c:pt idx="9">
                  <c:v>5.399921</c:v>
                </c:pt>
                <c:pt idx="10">
                  <c:v>4.89002</c:v>
                </c:pt>
                <c:pt idx="11">
                  <c:v>5.535395</c:v>
                </c:pt>
                <c:pt idx="12">
                  <c:v>5.172909</c:v>
                </c:pt>
                <c:pt idx="13">
                  <c:v>5.853076</c:v>
                </c:pt>
                <c:pt idx="14">
                  <c:v>5.957151</c:v>
                </c:pt>
                <c:pt idx="15">
                  <c:v>6.324493</c:v>
                </c:pt>
                <c:pt idx="16">
                  <c:v>6.137855</c:v>
                </c:pt>
                <c:pt idx="17">
                  <c:v>6.921857</c:v>
                </c:pt>
                <c:pt idx="18">
                  <c:v>6.866002</c:v>
                </c:pt>
                <c:pt idx="19">
                  <c:v>6.274833</c:v>
                </c:pt>
                <c:pt idx="20">
                  <c:v>6.252613</c:v>
                </c:pt>
                <c:pt idx="21">
                  <c:v>5.558415</c:v>
                </c:pt>
                <c:pt idx="22">
                  <c:v>5.247567</c:v>
                </c:pt>
                <c:pt idx="23">
                  <c:v>5.460836</c:v>
                </c:pt>
                <c:pt idx="24">
                  <c:v>5.444954</c:v>
                </c:pt>
                <c:pt idx="25">
                  <c:v>5.813156</c:v>
                </c:pt>
                <c:pt idx="26">
                  <c:v>5.821219</c:v>
                </c:pt>
                <c:pt idx="27">
                  <c:v>6.18367</c:v>
                </c:pt>
                <c:pt idx="28">
                  <c:v>5.993961</c:v>
                </c:pt>
                <c:pt idx="29">
                  <c:v>6.766304</c:v>
                </c:pt>
                <c:pt idx="30">
                  <c:v>6.7593</c:v>
                </c:pt>
                <c:pt idx="31">
                  <c:v>5.899352</c:v>
                </c:pt>
                <c:pt idx="32">
                  <c:v>6.193062</c:v>
                </c:pt>
                <c:pt idx="33">
                  <c:v>5.788756</c:v>
                </c:pt>
                <c:pt idx="34">
                  <c:v>5.47633</c:v>
                </c:pt>
                <c:pt idx="35">
                  <c:v>0.861678</c:v>
                </c:pt>
              </c:numCache>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E$1</c:f>
              <c:strCache>
                <c:ptCount val="1"/>
                <c:pt idx="0">
                  <c:v>Bloc</c:v>
                </c:pt>
              </c:strCache>
            </c:strRef>
          </c:tx>
          <c:spPr>
            <a:solidFill>
              <a:srgbClr val="9B9898"/>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E$2:$E$37</c:f>
              <c:numCache>
                <c:formatCode>General</c:formatCode>
                <c:ptCount val="36"/>
                <c:pt idx="0">
                  <c:v>10.366138</c:v>
                </c:pt>
                <c:pt idx="1">
                  <c:v>11.52188</c:v>
                </c:pt>
                <c:pt idx="2">
                  <c:v>11.493623</c:v>
                </c:pt>
                <c:pt idx="3">
                  <c:v>11.946765</c:v>
                </c:pt>
                <c:pt idx="4">
                  <c:v>11.569544</c:v>
                </c:pt>
                <c:pt idx="5">
                  <c:v>12.510759</c:v>
                </c:pt>
                <c:pt idx="6">
                  <c:v>12.557871</c:v>
                </c:pt>
                <c:pt idx="7">
                  <c:v>12.302449</c:v>
                </c:pt>
                <c:pt idx="8">
                  <c:v>13.033609</c:v>
                </c:pt>
                <c:pt idx="9">
                  <c:v>12.852501</c:v>
                </c:pt>
                <c:pt idx="10">
                  <c:v>13.214026</c:v>
                </c:pt>
                <c:pt idx="11">
                  <c:v>13.119913</c:v>
                </c:pt>
                <c:pt idx="12">
                  <c:v>11.702761</c:v>
                </c:pt>
                <c:pt idx="13">
                  <c:v>13.412599</c:v>
                </c:pt>
                <c:pt idx="14">
                  <c:v>13.611503</c:v>
                </c:pt>
                <c:pt idx="15">
                  <c:v>13.837076</c:v>
                </c:pt>
                <c:pt idx="16">
                  <c:v>13.471295</c:v>
                </c:pt>
                <c:pt idx="17">
                  <c:v>14.177304</c:v>
                </c:pt>
                <c:pt idx="18">
                  <c:v>14.326763</c:v>
                </c:pt>
                <c:pt idx="19">
                  <c:v>13.614327</c:v>
                </c:pt>
                <c:pt idx="20">
                  <c:v>14.058184</c:v>
                </c:pt>
                <c:pt idx="21">
                  <c:v>13.318568</c:v>
                </c:pt>
                <c:pt idx="22">
                  <c:v>13.979975</c:v>
                </c:pt>
                <c:pt idx="23">
                  <c:v>13.242965</c:v>
                </c:pt>
                <c:pt idx="24">
                  <c:v>12.582041</c:v>
                </c:pt>
                <c:pt idx="25">
                  <c:v>13.862278</c:v>
                </c:pt>
                <c:pt idx="26">
                  <c:v>13.031673</c:v>
                </c:pt>
                <c:pt idx="27">
                  <c:v>13.650985</c:v>
                </c:pt>
                <c:pt idx="28">
                  <c:v>13.062685</c:v>
                </c:pt>
                <c:pt idx="29">
                  <c:v>13.804946</c:v>
                </c:pt>
                <c:pt idx="30">
                  <c:v>13.885898</c:v>
                </c:pt>
                <c:pt idx="31">
                  <c:v>12.951045</c:v>
                </c:pt>
                <c:pt idx="32">
                  <c:v>13.769995</c:v>
                </c:pt>
                <c:pt idx="33">
                  <c:v>13.614078</c:v>
                </c:pt>
                <c:pt idx="34">
                  <c:v>15.035714</c:v>
                </c:pt>
                <c:pt idx="35">
                  <c:v>2.266353</c:v>
                </c:pt>
              </c:numCache>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F$1</c:f>
              <c:strCache>
                <c:ptCount val="1"/>
                <c:pt idx="0">
                  <c:v>Specialit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F$2:$F$37</c:f>
              <c:numCache>
                <c:formatCode>General</c:formatCode>
                <c:ptCount val="36"/>
                <c:pt idx="0">
                  <c:v>10.863442</c:v>
                </c:pt>
                <c:pt idx="1">
                  <c:v>11.133518</c:v>
                </c:pt>
                <c:pt idx="2">
                  <c:v>9.80131</c:v>
                </c:pt>
                <c:pt idx="3">
                  <c:v>9.241182</c:v>
                </c:pt>
                <c:pt idx="4">
                  <c:v>8.513755</c:v>
                </c:pt>
                <c:pt idx="5">
                  <c:v>9.256282</c:v>
                </c:pt>
                <c:pt idx="6">
                  <c:v>10.189892</c:v>
                </c:pt>
                <c:pt idx="7">
                  <c:v>11.093911</c:v>
                </c:pt>
                <c:pt idx="8">
                  <c:v>12.536557</c:v>
                </c:pt>
                <c:pt idx="9">
                  <c:v>12.773089</c:v>
                </c:pt>
                <c:pt idx="10">
                  <c:v>14.792499</c:v>
                </c:pt>
                <c:pt idx="11">
                  <c:v>13.10561</c:v>
                </c:pt>
                <c:pt idx="12">
                  <c:v>11.628325</c:v>
                </c:pt>
                <c:pt idx="13">
                  <c:v>11.995999</c:v>
                </c:pt>
                <c:pt idx="14">
                  <c:v>11.614443</c:v>
                </c:pt>
                <c:pt idx="15">
                  <c:v>10.695662</c:v>
                </c:pt>
                <c:pt idx="16">
                  <c:v>9.651895</c:v>
                </c:pt>
                <c:pt idx="17">
                  <c:v>10.615195</c:v>
                </c:pt>
                <c:pt idx="18">
                  <c:v>11.281521</c:v>
                </c:pt>
                <c:pt idx="19">
                  <c:v>11.494932</c:v>
                </c:pt>
                <c:pt idx="20">
                  <c:v>13.437307</c:v>
                </c:pt>
                <c:pt idx="21">
                  <c:v>13.581889</c:v>
                </c:pt>
                <c:pt idx="22">
                  <c:v>15.415487</c:v>
                </c:pt>
                <c:pt idx="23">
                  <c:v>12.906437</c:v>
                </c:pt>
                <c:pt idx="24">
                  <c:v>11.915515</c:v>
                </c:pt>
                <c:pt idx="25">
                  <c:v>12.548183</c:v>
                </c:pt>
                <c:pt idx="26">
                  <c:v>10.25206</c:v>
                </c:pt>
                <c:pt idx="27">
                  <c:v>10.793271</c:v>
                </c:pt>
                <c:pt idx="28">
                  <c:v>9.832851</c:v>
                </c:pt>
                <c:pt idx="29">
                  <c:v>10.396228</c:v>
                </c:pt>
                <c:pt idx="30">
                  <c:v>10.803288</c:v>
                </c:pt>
                <c:pt idx="31">
                  <c:v>12.044828</c:v>
                </c:pt>
                <c:pt idx="32">
                  <c:v>14.045527</c:v>
                </c:pt>
                <c:pt idx="33">
                  <c:v>14.276673</c:v>
                </c:pt>
                <c:pt idx="34">
                  <c:v>16.584581</c:v>
                </c:pt>
                <c:pt idx="35">
                  <c:v>2.506824</c:v>
                </c:pt>
              </c:numCache>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G$1</c:f>
              <c:strCache>
                <c:ptCount val="1"/>
                <c:pt idx="0">
                  <c:v>Dessert</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G$2:$G$37</c:f>
              <c:numCache>
                <c:formatCode>General</c:formatCode>
                <c:ptCount val="36"/>
                <c:pt idx="0">
                  <c:v>1.28986</c:v>
                </c:pt>
                <c:pt idx="1">
                  <c:v>1.546061</c:v>
                </c:pt>
                <c:pt idx="2">
                  <c:v>2.167087</c:v>
                </c:pt>
                <c:pt idx="3">
                  <c:v>1.833063</c:v>
                </c:pt>
                <c:pt idx="4">
                  <c:v>1.544044</c:v>
                </c:pt>
                <c:pt idx="5">
                  <c:v>1.524466</c:v>
                </c:pt>
                <c:pt idx="6">
                  <c:v>1.480189</c:v>
                </c:pt>
                <c:pt idx="7">
                  <c:v>1.400092</c:v>
                </c:pt>
                <c:pt idx="8">
                  <c:v>1.482178</c:v>
                </c:pt>
                <c:pt idx="9">
                  <c:v>1.519248</c:v>
                </c:pt>
                <c:pt idx="10">
                  <c:v>2.399359</c:v>
                </c:pt>
                <c:pt idx="11">
                  <c:v>1.43166</c:v>
                </c:pt>
                <c:pt idx="12">
                  <c:v>1.478008</c:v>
                </c:pt>
                <c:pt idx="13">
                  <c:v>2.217703</c:v>
                </c:pt>
                <c:pt idx="14">
                  <c:v>2.990987</c:v>
                </c:pt>
                <c:pt idx="15">
                  <c:v>2.151175</c:v>
                </c:pt>
                <c:pt idx="16">
                  <c:v>1.913552</c:v>
                </c:pt>
                <c:pt idx="17">
                  <c:v>1.852757</c:v>
                </c:pt>
                <c:pt idx="18">
                  <c:v>1.828592</c:v>
                </c:pt>
                <c:pt idx="19">
                  <c:v>1.715676</c:v>
                </c:pt>
                <c:pt idx="20">
                  <c:v>1.727058</c:v>
                </c:pt>
                <c:pt idx="21">
                  <c:v>1.613497</c:v>
                </c:pt>
                <c:pt idx="22">
                  <c:v>2.7733</c:v>
                </c:pt>
                <c:pt idx="23">
                  <c:v>1.434009</c:v>
                </c:pt>
                <c:pt idx="24">
                  <c:v>1.568257</c:v>
                </c:pt>
                <c:pt idx="25">
                  <c:v>2.595908</c:v>
                </c:pt>
                <c:pt idx="26">
                  <c:v>2.191575</c:v>
                </c:pt>
                <c:pt idx="27">
                  <c:v>2.079597</c:v>
                </c:pt>
                <c:pt idx="28">
                  <c:v>1.875275</c:v>
                </c:pt>
                <c:pt idx="29">
                  <c:v>1.758454</c:v>
                </c:pt>
                <c:pt idx="30">
                  <c:v>1.77304</c:v>
                </c:pt>
                <c:pt idx="31">
                  <c:v>1.587593</c:v>
                </c:pt>
                <c:pt idx="32">
                  <c:v>1.709684</c:v>
                </c:pt>
                <c:pt idx="33">
                  <c:v>1.766939</c:v>
                </c:pt>
                <c:pt idx="34">
                  <c:v>3.006365</c:v>
                </c:pt>
                <c:pt idx="35">
                  <c:v>0.423433</c:v>
                </c:pt>
              </c:numCache>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H$1</c:f>
              <c:strCache>
                <c:ptCount val="1"/>
                <c:pt idx="0">
                  <c:v>Rap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H$2:$H$37</c:f>
              <c:numCache>
                <c:formatCode>General</c:formatCode>
                <c:ptCount val="36"/>
                <c:pt idx="0">
                  <c:v>18.943412</c:v>
                </c:pt>
                <c:pt idx="1">
                  <c:v>20.927642</c:v>
                </c:pt>
                <c:pt idx="2">
                  <c:v>19.722808</c:v>
                </c:pt>
                <c:pt idx="3">
                  <c:v>18.675653</c:v>
                </c:pt>
                <c:pt idx="4">
                  <c:v>17.096956</c:v>
                </c:pt>
                <c:pt idx="5">
                  <c:v>17.557005</c:v>
                </c:pt>
                <c:pt idx="6">
                  <c:v>19.762024</c:v>
                </c:pt>
                <c:pt idx="7">
                  <c:v>22.088092</c:v>
                </c:pt>
                <c:pt idx="8">
                  <c:v>23.50423</c:v>
                </c:pt>
                <c:pt idx="9">
                  <c:v>23.958316</c:v>
                </c:pt>
                <c:pt idx="10">
                  <c:v>24.25459</c:v>
                </c:pt>
                <c:pt idx="11">
                  <c:v>26.085473</c:v>
                </c:pt>
                <c:pt idx="12">
                  <c:v>23.52221</c:v>
                </c:pt>
                <c:pt idx="13">
                  <c:v>26.449388</c:v>
                </c:pt>
                <c:pt idx="14">
                  <c:v>25.955013</c:v>
                </c:pt>
                <c:pt idx="15">
                  <c:v>23.877336</c:v>
                </c:pt>
                <c:pt idx="16">
                  <c:v>20.652916</c:v>
                </c:pt>
                <c:pt idx="17">
                  <c:v>22.174033</c:v>
                </c:pt>
                <c:pt idx="18">
                  <c:v>23.713771</c:v>
                </c:pt>
                <c:pt idx="19">
                  <c:v>24.552889</c:v>
                </c:pt>
                <c:pt idx="20">
                  <c:v>26.073826</c:v>
                </c:pt>
                <c:pt idx="21">
                  <c:v>25.763706</c:v>
                </c:pt>
                <c:pt idx="22">
                  <c:v>26.043776</c:v>
                </c:pt>
                <c:pt idx="23">
                  <c:v>26.715126</c:v>
                </c:pt>
                <c:pt idx="24">
                  <c:v>24.860245</c:v>
                </c:pt>
                <c:pt idx="25">
                  <c:v>27.046451</c:v>
                </c:pt>
                <c:pt idx="26">
                  <c:v>23.821586</c:v>
                </c:pt>
                <c:pt idx="27">
                  <c:v>23.968742</c:v>
                </c:pt>
                <c:pt idx="28">
                  <c:v>21.382532</c:v>
                </c:pt>
                <c:pt idx="29">
                  <c:v>21.166924</c:v>
                </c:pt>
                <c:pt idx="30">
                  <c:v>21.779777</c:v>
                </c:pt>
                <c:pt idx="31">
                  <c:v>24.923431</c:v>
                </c:pt>
                <c:pt idx="32">
                  <c:v>25.799308</c:v>
                </c:pt>
                <c:pt idx="33">
                  <c:v>26.658996</c:v>
                </c:pt>
                <c:pt idx="34">
                  <c:v>27.024024</c:v>
                </c:pt>
                <c:pt idx="35">
                  <c:v>4.509321</c:v>
                </c:pt>
              </c:numCache>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I$1</c:f>
              <c:strCache>
                <c:ptCount val="1"/>
                <c:pt idx="0">
                  <c:v>Plat Chaud</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I$2:$I$37</c:f>
              <c:numCache>
                <c:formatCode>General</c:formatCode>
                <c:ptCount val="36"/>
                <c:pt idx="0">
                  <c:v>10.544835</c:v>
                </c:pt>
                <c:pt idx="1">
                  <c:v>7.122887</c:v>
                </c:pt>
                <c:pt idx="2">
                  <c:v>3.760065</c:v>
                </c:pt>
                <c:pt idx="3">
                  <c:v>1.953213</c:v>
                </c:pt>
                <c:pt idx="4">
                  <c:v>1.741724</c:v>
                </c:pt>
                <c:pt idx="5">
                  <c:v>1.667561</c:v>
                </c:pt>
                <c:pt idx="6">
                  <c:v>2.068517</c:v>
                </c:pt>
                <c:pt idx="7">
                  <c:v>6.887846</c:v>
                </c:pt>
                <c:pt idx="8">
                  <c:v>14.657069</c:v>
                </c:pt>
                <c:pt idx="9">
                  <c:v>16.423265</c:v>
                </c:pt>
                <c:pt idx="10">
                  <c:v>17.627696</c:v>
                </c:pt>
                <c:pt idx="11">
                  <c:v>16.554338</c:v>
                </c:pt>
                <c:pt idx="12">
                  <c:v>11.724684</c:v>
                </c:pt>
                <c:pt idx="13">
                  <c:v>8.678855</c:v>
                </c:pt>
                <c:pt idx="14">
                  <c:v>4.849055</c:v>
                </c:pt>
                <c:pt idx="15">
                  <c:v>2.551809</c:v>
                </c:pt>
                <c:pt idx="16">
                  <c:v>1.669213</c:v>
                </c:pt>
                <c:pt idx="17">
                  <c:v>1.954117</c:v>
                </c:pt>
                <c:pt idx="18">
                  <c:v>2.422181</c:v>
                </c:pt>
                <c:pt idx="19">
                  <c:v>4.713145</c:v>
                </c:pt>
                <c:pt idx="20">
                  <c:v>14.684088</c:v>
                </c:pt>
                <c:pt idx="21">
                  <c:v>18.965167</c:v>
                </c:pt>
                <c:pt idx="22">
                  <c:v>19.608621</c:v>
                </c:pt>
                <c:pt idx="23">
                  <c:v>16.588666</c:v>
                </c:pt>
                <c:pt idx="24">
                  <c:v>11.294244</c:v>
                </c:pt>
                <c:pt idx="25">
                  <c:v>8.344008</c:v>
                </c:pt>
                <c:pt idx="26">
                  <c:v>4.314893</c:v>
                </c:pt>
                <c:pt idx="27">
                  <c:v>2.77069</c:v>
                </c:pt>
                <c:pt idx="28">
                  <c:v>2.102444</c:v>
                </c:pt>
                <c:pt idx="29">
                  <c:v>1.958753</c:v>
                </c:pt>
                <c:pt idx="30">
                  <c:v>2.078541</c:v>
                </c:pt>
                <c:pt idx="31">
                  <c:v>6.74149</c:v>
                </c:pt>
                <c:pt idx="32">
                  <c:v>16.478625</c:v>
                </c:pt>
                <c:pt idx="33">
                  <c:v>19.147735</c:v>
                </c:pt>
                <c:pt idx="34">
                  <c:v>21.260753</c:v>
                </c:pt>
                <c:pt idx="35">
                  <c:v>4.162256</c:v>
                </c:pt>
              </c:numCache>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J$1</c:f>
              <c:strCache>
                <c:ptCount val="1"/>
                <c:pt idx="0">
                  <c:v>Pate Persille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J$2:$J$37</c:f>
              <c:numCache>
                <c:formatCode>General</c:formatCode>
                <c:ptCount val="36"/>
                <c:pt idx="0">
                  <c:v>4.006627</c:v>
                </c:pt>
                <c:pt idx="1">
                  <c:v>4.289804</c:v>
                </c:pt>
                <c:pt idx="2">
                  <c:v>4.149883</c:v>
                </c:pt>
                <c:pt idx="3">
                  <c:v>4.205869</c:v>
                </c:pt>
                <c:pt idx="4">
                  <c:v>4.061575</c:v>
                </c:pt>
                <c:pt idx="5">
                  <c:v>4.011797</c:v>
                </c:pt>
                <c:pt idx="6">
                  <c:v>4.33574</c:v>
                </c:pt>
                <c:pt idx="7">
                  <c:v>4.461347</c:v>
                </c:pt>
                <c:pt idx="8">
                  <c:v>4.92382</c:v>
                </c:pt>
                <c:pt idx="9">
                  <c:v>5.155207</c:v>
                </c:pt>
                <c:pt idx="10">
                  <c:v>5.701031</c:v>
                </c:pt>
                <c:pt idx="11">
                  <c:v>5.13753</c:v>
                </c:pt>
                <c:pt idx="12">
                  <c:v>4.531248</c:v>
                </c:pt>
                <c:pt idx="13">
                  <c:v>4.965227</c:v>
                </c:pt>
                <c:pt idx="14">
                  <c:v>4.947427</c:v>
                </c:pt>
                <c:pt idx="15">
                  <c:v>4.907219</c:v>
                </c:pt>
                <c:pt idx="16">
                  <c:v>4.389652</c:v>
                </c:pt>
                <c:pt idx="17">
                  <c:v>4.60411</c:v>
                </c:pt>
                <c:pt idx="18">
                  <c:v>4.764144</c:v>
                </c:pt>
                <c:pt idx="19">
                  <c:v>4.55604</c:v>
                </c:pt>
                <c:pt idx="20">
                  <c:v>5.282251</c:v>
                </c:pt>
                <c:pt idx="21">
                  <c:v>5.306486</c:v>
                </c:pt>
                <c:pt idx="22">
                  <c:v>5.875008</c:v>
                </c:pt>
                <c:pt idx="23">
                  <c:v>4.821718</c:v>
                </c:pt>
                <c:pt idx="24">
                  <c:v>4.600871</c:v>
                </c:pt>
                <c:pt idx="25">
                  <c:v>5.057379</c:v>
                </c:pt>
                <c:pt idx="26">
                  <c:v>4.385622</c:v>
                </c:pt>
                <c:pt idx="27">
                  <c:v>4.837233</c:v>
                </c:pt>
                <c:pt idx="28">
                  <c:v>4.440504</c:v>
                </c:pt>
                <c:pt idx="29">
                  <c:v>4.503537</c:v>
                </c:pt>
                <c:pt idx="30">
                  <c:v>4.542015</c:v>
                </c:pt>
                <c:pt idx="31">
                  <c:v>4.522986</c:v>
                </c:pt>
                <c:pt idx="32">
                  <c:v>5.109712</c:v>
                </c:pt>
                <c:pt idx="33">
                  <c:v>5.25214</c:v>
                </c:pt>
                <c:pt idx="34">
                  <c:v>6.130608</c:v>
                </c:pt>
                <c:pt idx="35">
                  <c:v>0.85873</c:v>
                </c:pt>
              </c:numCache>
            </c:numRef>
          </c:val>
          <c:extLst>
            <c:ext xmlns:c16="http://schemas.microsoft.com/office/drawing/2014/chart" uri="{C3380CC4-5D6E-409C-BE32-E72D297353CC}">
              <c16:uniqueId val="{0000000A-CB01-4B89-A725-1CA2D0FD4A84}"/>
            </c:ext>
          </c:extLst>
        </c:ser>
        <c:ser>
          <c:idx val="14"/>
          <c:order val="14"/>
          <c:tx>
            <c:strRef>
              <c:f>Sheet1!$K$1</c:f>
              <c:strCache>
                <c:ptCount val="1"/>
                <c:pt idx="0">
                  <c:v>Ingredient A Chaud</c:v>
                </c:pt>
              </c:strCache>
            </c:strRef>
          </c:tx>
          <c:spPr>
            <a:solidFill>
              <a:srgbClr val="00504B"/>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K$2:$K$37</c:f>
              <c:numCache>
                <c:formatCode>General</c:formatCode>
                <c:ptCount val="36"/>
                <c:pt idx="0">
                  <c:v>2.231714</c:v>
                </c:pt>
                <c:pt idx="1">
                  <c:v>2.41144</c:v>
                </c:pt>
                <c:pt idx="2">
                  <c:v>2.636067</c:v>
                </c:pt>
                <c:pt idx="3">
                  <c:v>2.344937</c:v>
                </c:pt>
                <c:pt idx="4">
                  <c:v>2.299411</c:v>
                </c:pt>
                <c:pt idx="5">
                  <c:v>2.337616</c:v>
                </c:pt>
                <c:pt idx="6">
                  <c:v>2.490506</c:v>
                </c:pt>
                <c:pt idx="7">
                  <c:v>2.721912</c:v>
                </c:pt>
                <c:pt idx="8">
                  <c:v>2.983124</c:v>
                </c:pt>
                <c:pt idx="9">
                  <c:v>2.952882</c:v>
                </c:pt>
                <c:pt idx="10">
                  <c:v>2.928705</c:v>
                </c:pt>
                <c:pt idx="11">
                  <c:v>3.193427</c:v>
                </c:pt>
                <c:pt idx="12">
                  <c:v>2.999484</c:v>
                </c:pt>
                <c:pt idx="13">
                  <c:v>3.652071</c:v>
                </c:pt>
                <c:pt idx="14">
                  <c:v>3.632589</c:v>
                </c:pt>
                <c:pt idx="15">
                  <c:v>3.265369</c:v>
                </c:pt>
                <c:pt idx="16">
                  <c:v>2.915845</c:v>
                </c:pt>
                <c:pt idx="17">
                  <c:v>3.152466</c:v>
                </c:pt>
                <c:pt idx="18">
                  <c:v>3.200333</c:v>
                </c:pt>
                <c:pt idx="19">
                  <c:v>3.266367</c:v>
                </c:pt>
                <c:pt idx="20">
                  <c:v>3.518566</c:v>
                </c:pt>
                <c:pt idx="21">
                  <c:v>3.266182</c:v>
                </c:pt>
                <c:pt idx="22">
                  <c:v>3.256825</c:v>
                </c:pt>
                <c:pt idx="23">
                  <c:v>3.329285</c:v>
                </c:pt>
                <c:pt idx="24">
                  <c:v>3.23389</c:v>
                </c:pt>
                <c:pt idx="25">
                  <c:v>3.869052</c:v>
                </c:pt>
                <c:pt idx="26">
                  <c:v>3.313291</c:v>
                </c:pt>
                <c:pt idx="27">
                  <c:v>3.284226</c:v>
                </c:pt>
                <c:pt idx="28">
                  <c:v>2.991569</c:v>
                </c:pt>
                <c:pt idx="29">
                  <c:v>2.979409</c:v>
                </c:pt>
                <c:pt idx="30">
                  <c:v>2.956478</c:v>
                </c:pt>
                <c:pt idx="31">
                  <c:v>3.210873</c:v>
                </c:pt>
                <c:pt idx="32">
                  <c:v>3.467525</c:v>
                </c:pt>
                <c:pt idx="33">
                  <c:v>3.551834</c:v>
                </c:pt>
                <c:pt idx="34">
                  <c:v>3.631513</c:v>
                </c:pt>
                <c:pt idx="35">
                  <c:v>0.584757</c:v>
                </c:pt>
              </c:numCache>
            </c:numRef>
          </c:val>
          <c:extLst>
            <c:ext xmlns:c16="http://schemas.microsoft.com/office/drawing/2014/chart" uri="{C3380CC4-5D6E-409C-BE32-E72D297353CC}">
              <c16:uniqueId val="{0000000B-CB01-4B89-A725-1CA2D0FD4A84}"/>
            </c:ext>
          </c:extLst>
        </c:ser>
        <c:ser>
          <c:idx val="15"/>
          <c:order val="15"/>
          <c:tx>
            <c:strRef>
              <c:f>Sheet1!$L$1</c:f>
              <c:strCache>
                <c:ptCount val="1"/>
                <c:pt idx="0">
                  <c:v>Alternative Vegetal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L$2:$L$37</c:f>
              <c:numCache>
                <c:formatCode>General</c:formatCode>
                <c:ptCount val="36"/>
                <c:pt idx="0">
                  <c:v>0.184701</c:v>
                </c:pt>
                <c:pt idx="1">
                  <c:v>0.174687</c:v>
                </c:pt>
                <c:pt idx="2">
                  <c:v>0.191462</c:v>
                </c:pt>
                <c:pt idx="3">
                  <c:v>0.206542</c:v>
                </c:pt>
                <c:pt idx="4">
                  <c:v>0.209019</c:v>
                </c:pt>
                <c:pt idx="5">
                  <c:v>0.210518</c:v>
                </c:pt>
                <c:pt idx="6">
                  <c:v>0.214435</c:v>
                </c:pt>
                <c:pt idx="7">
                  <c:v>0.217044</c:v>
                </c:pt>
                <c:pt idx="8">
                  <c:v>0.199211</c:v>
                </c:pt>
                <c:pt idx="9">
                  <c:v>0.212327</c:v>
                </c:pt>
                <c:pt idx="10">
                  <c:v>0.210197</c:v>
                </c:pt>
                <c:pt idx="11">
                  <c:v>0.201313</c:v>
                </c:pt>
                <c:pt idx="12">
                  <c:v>0.192411</c:v>
                </c:pt>
                <c:pt idx="13">
                  <c:v>0.200278</c:v>
                </c:pt>
                <c:pt idx="14">
                  <c:v>0.212945</c:v>
                </c:pt>
                <c:pt idx="15">
                  <c:v>0.201389</c:v>
                </c:pt>
                <c:pt idx="16">
                  <c:v>0.21954</c:v>
                </c:pt>
                <c:pt idx="17">
                  <c:v>0.212748</c:v>
                </c:pt>
                <c:pt idx="18">
                  <c:v>0.208191</c:v>
                </c:pt>
                <c:pt idx="19">
                  <c:v>0.197821</c:v>
                </c:pt>
                <c:pt idx="20">
                  <c:v>0.256794</c:v>
                </c:pt>
                <c:pt idx="21">
                  <c:v>0.268492</c:v>
                </c:pt>
                <c:pt idx="22">
                  <c:v>0.278872</c:v>
                </c:pt>
                <c:pt idx="23">
                  <c:v>0.259801</c:v>
                </c:pt>
                <c:pt idx="24">
                  <c:v>0.300117</c:v>
                </c:pt>
                <c:pt idx="25">
                  <c:v>0.320525</c:v>
                </c:pt>
                <c:pt idx="26">
                  <c:v>0.31506</c:v>
                </c:pt>
                <c:pt idx="27">
                  <c:v>0.296734</c:v>
                </c:pt>
                <c:pt idx="28">
                  <c:v>0.325044</c:v>
                </c:pt>
                <c:pt idx="29">
                  <c:v>0.336251</c:v>
                </c:pt>
                <c:pt idx="30">
                  <c:v>0.279542</c:v>
                </c:pt>
                <c:pt idx="31">
                  <c:v>0.336717</c:v>
                </c:pt>
                <c:pt idx="32">
                  <c:v>0.313779</c:v>
                </c:pt>
                <c:pt idx="33">
                  <c:v>0.327092</c:v>
                </c:pt>
                <c:pt idx="34">
                  <c:v>0.319383</c:v>
                </c:pt>
                <c:pt idx="35">
                  <c:v>0.29448</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M$1</c:f>
              <c:strCache>
                <c:ptCount val="1"/>
                <c:pt idx="0">
                  <c:v>Total</c:v>
                </c:pt>
              </c:strCache>
            </c:strRef>
          </c:tx>
          <c:spPr>
            <a:solidFill>
              <a:srgbClr val="7F7F7F"/>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M$2:$M$37</c:f>
              <c:numCache>
                <c:formatCode>General</c:formatCode>
                <c:ptCount val="36"/>
                <c:pt idx="0">
                  <c:v>124.156254</c:v>
                </c:pt>
                <c:pt idx="1">
                  <c:v>122.252278</c:v>
                </c:pt>
                <c:pt idx="2">
                  <c:v>131.34092</c:v>
                </c:pt>
                <c:pt idx="3">
                  <c:v>131.375993</c:v>
                </c:pt>
                <c:pt idx="4">
                  <c:v>141.684765</c:v>
                </c:pt>
                <c:pt idx="5">
                  <c:v>136.166726</c:v>
                </c:pt>
                <c:pt idx="6">
                  <c:v>121.200645</c:v>
                </c:pt>
                <c:pt idx="7">
                  <c:v>135.540356</c:v>
                </c:pt>
                <c:pt idx="8">
                  <c:v>134.989185</c:v>
                </c:pt>
                <c:pt idx="9">
                  <c:v>133.471194</c:v>
                </c:pt>
                <c:pt idx="10">
                  <c:v>129.80609</c:v>
                </c:pt>
                <c:pt idx="11">
                  <c:v>138.06086</c:v>
                </c:pt>
                <c:pt idx="12">
                  <c:v>140.599859</c:v>
                </c:pt>
                <c:pt idx="13">
                  <c:v>133.984868</c:v>
                </c:pt>
                <c:pt idx="14">
                  <c:v>143.264699</c:v>
                </c:pt>
                <c:pt idx="15">
                  <c:v>139.627716</c:v>
                </c:pt>
                <c:pt idx="16">
                  <c:v>152.302933</c:v>
                </c:pt>
                <c:pt idx="17">
                  <c:v>135.870571</c:v>
                </c:pt>
                <c:pt idx="18">
                  <c:v>126.557198</c:v>
                </c:pt>
                <c:pt idx="19">
                  <c:v>139.477907</c:v>
                </c:pt>
                <c:pt idx="20">
                  <c:v>125.624706</c:v>
                </c:pt>
                <c:pt idx="21">
                  <c:v>132.902727</c:v>
                </c:pt>
                <c:pt idx="22">
                  <c:v>128.053957</c:v>
                </c:pt>
                <c:pt idx="23">
                  <c:v>133.930599</c:v>
                </c:pt>
                <c:pt idx="24">
                  <c:v>137.249248</c:v>
                </c:pt>
                <c:pt idx="25">
                  <c:v>132.416353</c:v>
                </c:pt>
                <c:pt idx="26">
                  <c:v>143.462476</c:v>
                </c:pt>
                <c:pt idx="27">
                  <c:v>145.427958</c:v>
                </c:pt>
                <c:pt idx="28">
                  <c:v>175.425846</c:v>
                </c:pt>
                <c:pt idx="29">
                  <c:v>76.27306</c:v>
                </c:pt>
                <c:pt idx="30">
                  <c:v>54.219941</c:v>
                </c:pt>
                <c:pt idx="31">
                  <c:v>62.208373</c:v>
                </c:pt>
                <c:pt idx="32">
                  <c:v>64.705354</c:v>
                </c:pt>
                <c:pt idx="33">
                  <c:v>73.300417</c:v>
                </c:pt>
                <c:pt idx="34">
                  <c:v>78.190886</c:v>
                </c:pt>
                <c:pt idx="35">
                  <c:v>81.644443</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2"/>
          <c:order val="2"/>
          <c:tx>
            <c:strRef>
              <c:f>Sheet1!$B$1</c:f>
              <c:strCache>
                <c:ptCount val="1"/>
                <c:pt idx="0">
                  <c:v>Aperitif</c:v>
                </c:pt>
              </c:strCache>
            </c:strRef>
          </c:tx>
          <c:spPr>
            <a:solidFill>
              <a:srgbClr val="00A097"/>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B$2:$B$37</c:f>
              <c:numCache>
                <c:formatCode>General</c:formatCode>
                <c:ptCount val="36"/>
                <c:pt idx="0">
                  <c:v>3.466609</c:v>
                </c:pt>
                <c:pt idx="1">
                  <c:v>2.184894</c:v>
                </c:pt>
                <c:pt idx="2">
                  <c:v>2.649536</c:v>
                </c:pt>
                <c:pt idx="3">
                  <c:v>2.659015</c:v>
                </c:pt>
                <c:pt idx="4">
                  <c:v>5.14286</c:v>
                </c:pt>
                <c:pt idx="5">
                  <c:v>1.912494</c:v>
                </c:pt>
                <c:pt idx="6">
                  <c:v>2.574455</c:v>
                </c:pt>
                <c:pt idx="7">
                  <c:v>2.357037</c:v>
                </c:pt>
                <c:pt idx="8">
                  <c:v>3.028975</c:v>
                </c:pt>
                <c:pt idx="9">
                  <c:v>2.451526</c:v>
                </c:pt>
                <c:pt idx="10">
                  <c:v>2.9935</c:v>
                </c:pt>
                <c:pt idx="11">
                  <c:v>3.240173</c:v>
                </c:pt>
                <c:pt idx="12">
                  <c:v>3.554341</c:v>
                </c:pt>
                <c:pt idx="13">
                  <c:v>2.275578</c:v>
                </c:pt>
                <c:pt idx="14">
                  <c:v>2.559751</c:v>
                </c:pt>
                <c:pt idx="15">
                  <c:v>2.548521</c:v>
                </c:pt>
                <c:pt idx="16">
                  <c:v>5.264692</c:v>
                </c:pt>
                <c:pt idx="17">
                  <c:v>1.762551</c:v>
                </c:pt>
                <c:pt idx="18">
                  <c:v>2.40659</c:v>
                </c:pt>
                <c:pt idx="19">
                  <c:v>2.997143</c:v>
                </c:pt>
                <c:pt idx="20">
                  <c:v>2.275396</c:v>
                </c:pt>
                <c:pt idx="21">
                  <c:v>2.723994</c:v>
                </c:pt>
                <c:pt idx="22">
                  <c:v>2.887046</c:v>
                </c:pt>
                <c:pt idx="23">
                  <c:v>3.346059</c:v>
                </c:pt>
                <c:pt idx="24">
                  <c:v>3.557611</c:v>
                </c:pt>
                <c:pt idx="25">
                  <c:v>2.292085</c:v>
                </c:pt>
                <c:pt idx="26">
                  <c:v>2.580731</c:v>
                </c:pt>
                <c:pt idx="27">
                  <c:v>2.802108</c:v>
                </c:pt>
                <c:pt idx="28">
                  <c:v>5.404175</c:v>
                </c:pt>
                <c:pt idx="29">
                  <c:v>2.732052</c:v>
                </c:pt>
                <c:pt idx="30">
                  <c:v>2.80874</c:v>
                </c:pt>
                <c:pt idx="31">
                  <c:v>2.348559</c:v>
                </c:pt>
                <c:pt idx="32">
                  <c:v>3.590743</c:v>
                </c:pt>
                <c:pt idx="33">
                  <c:v>2.742261</c:v>
                </c:pt>
                <c:pt idx="34">
                  <c:v>3.743111</c:v>
                </c:pt>
                <c:pt idx="35">
                  <c:v>3.532627</c:v>
                </c:pt>
              </c:numCache>
            </c:numRef>
          </c:val>
          <c:extLst xmlns:c15="http://schemas.microsoft.com/office/drawing/2012/chart">
            <c:ext xmlns:c16="http://schemas.microsoft.com/office/drawing/2014/chart" uri="{C3380CC4-5D6E-409C-BE32-E72D297353CC}">
              <c16:uniqueId val="{00000000-2D16-4906-BB22-77AF188F6975}"/>
            </c:ext>
          </c:extLst>
        </c:ser>
        <c:ser>
          <c:idx val="3"/>
          <c:order val="3"/>
          <c:tx>
            <c:strRef>
              <c:f>Sheet1!$C$1</c:f>
              <c:strCache>
                <c:ptCount val="1"/>
                <c:pt idx="0">
                  <c:v>Soft Cheese</c:v>
                </c:pt>
              </c:strCache>
            </c:strRef>
          </c:tx>
          <c:spPr>
            <a:solidFill>
              <a:srgbClr val="7ECAC4"/>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C$2:$C$37</c:f>
              <c:numCache>
                <c:formatCode>General</c:formatCode>
                <c:ptCount val="36"/>
                <c:pt idx="0">
                  <c:v>43.773802</c:v>
                </c:pt>
                <c:pt idx="1">
                  <c:v>36.357761</c:v>
                </c:pt>
                <c:pt idx="2">
                  <c:v>35.434889</c:v>
                </c:pt>
                <c:pt idx="3">
                  <c:v>33.059336</c:v>
                </c:pt>
                <c:pt idx="4">
                  <c:v>32.773116</c:v>
                </c:pt>
                <c:pt idx="5">
                  <c:v>33.106634</c:v>
                </c:pt>
                <c:pt idx="6">
                  <c:v>32.604859</c:v>
                </c:pt>
                <c:pt idx="7">
                  <c:v>37.002117</c:v>
                </c:pt>
                <c:pt idx="8">
                  <c:v>39.218668</c:v>
                </c:pt>
                <c:pt idx="9">
                  <c:v>44.452728</c:v>
                </c:pt>
                <c:pt idx="10">
                  <c:v>45.905016</c:v>
                </c:pt>
                <c:pt idx="11">
                  <c:v>51.200337</c:v>
                </c:pt>
                <c:pt idx="12">
                  <c:v>50.869002</c:v>
                </c:pt>
                <c:pt idx="13">
                  <c:v>43.567141</c:v>
                </c:pt>
                <c:pt idx="14">
                  <c:v>40.198773</c:v>
                </c:pt>
                <c:pt idx="15">
                  <c:v>37.135792</c:v>
                </c:pt>
                <c:pt idx="16">
                  <c:v>38.626706</c:v>
                </c:pt>
                <c:pt idx="17">
                  <c:v>35.905149</c:v>
                </c:pt>
                <c:pt idx="18">
                  <c:v>36.587755</c:v>
                </c:pt>
                <c:pt idx="19">
                  <c:v>41.125473</c:v>
                </c:pt>
                <c:pt idx="20">
                  <c:v>41.761415</c:v>
                </c:pt>
                <c:pt idx="21">
                  <c:v>48.040689</c:v>
                </c:pt>
                <c:pt idx="22">
                  <c:v>48.881516</c:v>
                </c:pt>
                <c:pt idx="23">
                  <c:v>55.241598</c:v>
                </c:pt>
                <c:pt idx="24">
                  <c:v>57.697781</c:v>
                </c:pt>
                <c:pt idx="25">
                  <c:v>46.095662</c:v>
                </c:pt>
                <c:pt idx="26">
                  <c:v>43.218768</c:v>
                </c:pt>
                <c:pt idx="27">
                  <c:v>41.300912</c:v>
                </c:pt>
                <c:pt idx="28">
                  <c:v>41.706794</c:v>
                </c:pt>
                <c:pt idx="29">
                  <c:v>40.268314</c:v>
                </c:pt>
                <c:pt idx="30">
                  <c:v>38.738231</c:v>
                </c:pt>
                <c:pt idx="31">
                  <c:v>44.403342</c:v>
                </c:pt>
                <c:pt idx="32">
                  <c:v>47.795374</c:v>
                </c:pt>
                <c:pt idx="33">
                  <c:v>53.744735</c:v>
                </c:pt>
                <c:pt idx="34">
                  <c:v>57.833075</c:v>
                </c:pt>
                <c:pt idx="35">
                  <c:v>62.338869</c:v>
                </c:pt>
              </c:numCache>
            </c:numRef>
          </c:val>
          <c:extLst xmlns:c15="http://schemas.microsoft.com/office/drawing/2012/chart">
            <c:ext xmlns:c16="http://schemas.microsoft.com/office/drawing/2014/chart" uri="{C3380CC4-5D6E-409C-BE32-E72D297353CC}">
              <c16:uniqueId val="{00000001-2D16-4906-BB22-77AF188F6975}"/>
            </c:ext>
          </c:extLst>
        </c:ser>
        <c:ser>
          <c:idx val="4"/>
          <c:order val="4"/>
          <c:tx>
            <c:strRef>
              <c:f>Sheet1!$D$1</c:f>
              <c:strCache>
                <c:ptCount val="1"/>
                <c:pt idx="0">
                  <c:v>Tranche A Froid</c:v>
                </c:pt>
              </c:strCache>
            </c:strRef>
          </c:tx>
          <c:spPr>
            <a:solidFill>
              <a:srgbClr val="A6A6A6"/>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D$2:$D$37</c:f>
              <c:numCache>
                <c:formatCode>General</c:formatCode>
                <c:ptCount val="36"/>
                <c:pt idx="0">
                  <c:v>4.008401</c:v>
                </c:pt>
                <c:pt idx="1">
                  <c:v>3.555423</c:v>
                </c:pt>
                <c:pt idx="2">
                  <c:v>3.543878</c:v>
                </c:pt>
                <c:pt idx="3">
                  <c:v>3.560259</c:v>
                </c:pt>
                <c:pt idx="4">
                  <c:v>3.143304</c:v>
                </c:pt>
                <c:pt idx="5">
                  <c:v>3.763478</c:v>
                </c:pt>
                <c:pt idx="6">
                  <c:v>4.123794</c:v>
                </c:pt>
                <c:pt idx="7">
                  <c:v>4.024695</c:v>
                </c:pt>
                <c:pt idx="8">
                  <c:v>4.148276</c:v>
                </c:pt>
                <c:pt idx="9">
                  <c:v>4.7305</c:v>
                </c:pt>
                <c:pt idx="10">
                  <c:v>4.84044</c:v>
                </c:pt>
                <c:pt idx="11">
                  <c:v>5.54112</c:v>
                </c:pt>
                <c:pt idx="12">
                  <c:v>5.283495</c:v>
                </c:pt>
                <c:pt idx="13">
                  <c:v>4.530286</c:v>
                </c:pt>
                <c:pt idx="14">
                  <c:v>4.400232</c:v>
                </c:pt>
                <c:pt idx="15">
                  <c:v>4.091861</c:v>
                </c:pt>
                <c:pt idx="16">
                  <c:v>3.832936</c:v>
                </c:pt>
                <c:pt idx="17">
                  <c:v>3.990432</c:v>
                </c:pt>
                <c:pt idx="18">
                  <c:v>4.198132</c:v>
                </c:pt>
                <c:pt idx="19">
                  <c:v>4.543037</c:v>
                </c:pt>
                <c:pt idx="20">
                  <c:v>4.483699</c:v>
                </c:pt>
                <c:pt idx="21">
                  <c:v>5.1623</c:v>
                </c:pt>
                <c:pt idx="22">
                  <c:v>5.378404</c:v>
                </c:pt>
                <c:pt idx="23">
                  <c:v>6.032806</c:v>
                </c:pt>
                <c:pt idx="24">
                  <c:v>6.257325</c:v>
                </c:pt>
                <c:pt idx="25">
                  <c:v>4.8098</c:v>
                </c:pt>
                <c:pt idx="26">
                  <c:v>4.960115</c:v>
                </c:pt>
                <c:pt idx="27">
                  <c:v>4.463944</c:v>
                </c:pt>
                <c:pt idx="28">
                  <c:v>4.064654</c:v>
                </c:pt>
                <c:pt idx="29">
                  <c:v>4.344946</c:v>
                </c:pt>
                <c:pt idx="30">
                  <c:v>4.49099</c:v>
                </c:pt>
                <c:pt idx="31">
                  <c:v>5.213955</c:v>
                </c:pt>
                <c:pt idx="32">
                  <c:v>5.131947</c:v>
                </c:pt>
                <c:pt idx="33">
                  <c:v>6.148082</c:v>
                </c:pt>
                <c:pt idx="34">
                  <c:v>6.187389</c:v>
                </c:pt>
                <c:pt idx="35">
                  <c:v>6.785416</c:v>
                </c:pt>
              </c:numCache>
            </c:numRef>
          </c:val>
          <c:extLst xmlns:c15="http://schemas.microsoft.com/office/drawing/2012/chart">
            <c:ext xmlns:c16="http://schemas.microsoft.com/office/drawing/2014/chart" uri="{C3380CC4-5D6E-409C-BE32-E72D297353CC}">
              <c16:uniqueId val="{00000002-2D16-4906-BB22-77AF188F6975}"/>
            </c:ext>
          </c:extLst>
        </c:ser>
        <c:ser>
          <c:idx val="5"/>
          <c:order val="5"/>
          <c:tx>
            <c:strRef>
              <c:f>Sheet1!$E$1</c:f>
              <c:strCache>
                <c:ptCount val="1"/>
                <c:pt idx="0">
                  <c:v>Bloc</c:v>
                </c:pt>
              </c:strCache>
            </c:strRef>
          </c:tx>
          <c:spPr>
            <a:solidFill>
              <a:srgbClr val="9B9898"/>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E$2:$E$37</c:f>
              <c:numCache>
                <c:formatCode>General</c:formatCode>
                <c:ptCount val="36"/>
                <c:pt idx="0">
                  <c:v>10.253716</c:v>
                </c:pt>
                <c:pt idx="1">
                  <c:v>9.522277</c:v>
                </c:pt>
                <c:pt idx="2">
                  <c:v>10.021304</c:v>
                </c:pt>
                <c:pt idx="3">
                  <c:v>9.706952</c:v>
                </c:pt>
                <c:pt idx="4">
                  <c:v>9.552794</c:v>
                </c:pt>
                <c:pt idx="5">
                  <c:v>9.813818</c:v>
                </c:pt>
                <c:pt idx="6">
                  <c:v>9.413339</c:v>
                </c:pt>
                <c:pt idx="7">
                  <c:v>10.345025</c:v>
                </c:pt>
                <c:pt idx="8">
                  <c:v>10.880502</c:v>
                </c:pt>
                <c:pt idx="9">
                  <c:v>11.015444</c:v>
                </c:pt>
                <c:pt idx="10">
                  <c:v>11.051981</c:v>
                </c:pt>
                <c:pt idx="11">
                  <c:v>11.889901</c:v>
                </c:pt>
                <c:pt idx="12">
                  <c:v>12.081024</c:v>
                </c:pt>
                <c:pt idx="13">
                  <c:v>10.862888</c:v>
                </c:pt>
                <c:pt idx="14">
                  <c:v>11.113402</c:v>
                </c:pt>
                <c:pt idx="15">
                  <c:v>10.811263</c:v>
                </c:pt>
                <c:pt idx="16">
                  <c:v>11.071303</c:v>
                </c:pt>
                <c:pt idx="17">
                  <c:v>10.437401</c:v>
                </c:pt>
                <c:pt idx="18">
                  <c:v>10.524039</c:v>
                </c:pt>
                <c:pt idx="19">
                  <c:v>11.128463</c:v>
                </c:pt>
                <c:pt idx="20">
                  <c:v>10.754485</c:v>
                </c:pt>
                <c:pt idx="21">
                  <c:v>12.174405</c:v>
                </c:pt>
                <c:pt idx="22">
                  <c:v>12.014224</c:v>
                </c:pt>
                <c:pt idx="23">
                  <c:v>13.040555</c:v>
                </c:pt>
                <c:pt idx="24">
                  <c:v>13.103255</c:v>
                </c:pt>
                <c:pt idx="25">
                  <c:v>11.67524</c:v>
                </c:pt>
                <c:pt idx="26">
                  <c:v>12.087036</c:v>
                </c:pt>
                <c:pt idx="27">
                  <c:v>12.08398</c:v>
                </c:pt>
                <c:pt idx="28">
                  <c:v>11.885758</c:v>
                </c:pt>
                <c:pt idx="29">
                  <c:v>12.225091</c:v>
                </c:pt>
                <c:pt idx="30">
                  <c:v>11.120535</c:v>
                </c:pt>
                <c:pt idx="31">
                  <c:v>12.454545</c:v>
                </c:pt>
                <c:pt idx="32">
                  <c:v>12.71118</c:v>
                </c:pt>
                <c:pt idx="33">
                  <c:v>13.402253</c:v>
                </c:pt>
                <c:pt idx="34">
                  <c:v>13.195985</c:v>
                </c:pt>
                <c:pt idx="35">
                  <c:v>13.675991</c:v>
                </c:pt>
              </c:numCache>
            </c:numRef>
          </c:val>
          <c:extLst xmlns:c15="http://schemas.microsoft.com/office/drawing/2012/chart">
            <c:ext xmlns:c16="http://schemas.microsoft.com/office/drawing/2014/chart" uri="{C3380CC4-5D6E-409C-BE32-E72D297353CC}">
              <c16:uniqueId val="{00000003-2D16-4906-BB22-77AF188F6975}"/>
            </c:ext>
          </c:extLst>
        </c:ser>
        <c:ser>
          <c:idx val="6"/>
          <c:order val="6"/>
          <c:tx>
            <c:strRef>
              <c:f>Sheet1!$F$1</c:f>
              <c:strCache>
                <c:ptCount val="1"/>
                <c:pt idx="0">
                  <c:v>Specialit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F$2:$F$37</c:f>
              <c:numCache>
                <c:formatCode>General</c:formatCode>
                <c:ptCount val="36"/>
                <c:pt idx="0">
                  <c:v>7.83033</c:v>
                </c:pt>
                <c:pt idx="1">
                  <c:v>7.982173</c:v>
                </c:pt>
                <c:pt idx="2">
                  <c:v>8.559066</c:v>
                </c:pt>
                <c:pt idx="3">
                  <c:v>8.835848</c:v>
                </c:pt>
                <c:pt idx="4">
                  <c:v>8.837506</c:v>
                </c:pt>
                <c:pt idx="5">
                  <c:v>8.599898</c:v>
                </c:pt>
                <c:pt idx="6">
                  <c:v>8.416137</c:v>
                </c:pt>
                <c:pt idx="7">
                  <c:v>8.727471</c:v>
                </c:pt>
                <c:pt idx="8">
                  <c:v>8.601262</c:v>
                </c:pt>
                <c:pt idx="9">
                  <c:v>9.030314</c:v>
                </c:pt>
                <c:pt idx="10">
                  <c:v>8.130323</c:v>
                </c:pt>
                <c:pt idx="11">
                  <c:v>8.808338</c:v>
                </c:pt>
                <c:pt idx="12">
                  <c:v>8.903628</c:v>
                </c:pt>
                <c:pt idx="13">
                  <c:v>8.728081</c:v>
                </c:pt>
                <c:pt idx="14">
                  <c:v>9.582433</c:v>
                </c:pt>
                <c:pt idx="15">
                  <c:v>9.491879</c:v>
                </c:pt>
                <c:pt idx="16">
                  <c:v>9.869613</c:v>
                </c:pt>
                <c:pt idx="17">
                  <c:v>9.281459</c:v>
                </c:pt>
                <c:pt idx="18">
                  <c:v>9.375358</c:v>
                </c:pt>
                <c:pt idx="19">
                  <c:v>9.566145</c:v>
                </c:pt>
                <c:pt idx="20">
                  <c:v>9.072123</c:v>
                </c:pt>
                <c:pt idx="21">
                  <c:v>9.49751</c:v>
                </c:pt>
                <c:pt idx="22">
                  <c:v>8.978689</c:v>
                </c:pt>
                <c:pt idx="23">
                  <c:v>9.450252</c:v>
                </c:pt>
                <c:pt idx="24">
                  <c:v>9.751929</c:v>
                </c:pt>
                <c:pt idx="25">
                  <c:v>10.248154</c:v>
                </c:pt>
                <c:pt idx="26">
                  <c:v>10.776351</c:v>
                </c:pt>
                <c:pt idx="27">
                  <c:v>10.1092</c:v>
                </c:pt>
                <c:pt idx="28">
                  <c:v>10.340779</c:v>
                </c:pt>
                <c:pt idx="29">
                  <c:v>10.472782</c:v>
                </c:pt>
                <c:pt idx="30">
                  <c:v>9.538307</c:v>
                </c:pt>
                <c:pt idx="31">
                  <c:v>9.869819</c:v>
                </c:pt>
                <c:pt idx="32">
                  <c:v>9.607062</c:v>
                </c:pt>
                <c:pt idx="33">
                  <c:v>9.619702</c:v>
                </c:pt>
                <c:pt idx="34">
                  <c:v>8.688632</c:v>
                </c:pt>
                <c:pt idx="35">
                  <c:v>9.565646</c:v>
                </c:pt>
              </c:numCache>
            </c:numRef>
          </c:val>
          <c:extLst xmlns:c15="http://schemas.microsoft.com/office/drawing/2012/chart">
            <c:ext xmlns:c16="http://schemas.microsoft.com/office/drawing/2014/chart" uri="{C3380CC4-5D6E-409C-BE32-E72D297353CC}">
              <c16:uniqueId val="{00000003-CB01-4B89-A725-1CA2D0FD4A84}"/>
            </c:ext>
          </c:extLst>
        </c:ser>
        <c:ser>
          <c:idx val="7"/>
          <c:order val="7"/>
          <c:tx>
            <c:strRef>
              <c:f>Sheet1!$G$1</c:f>
              <c:strCache>
                <c:ptCount val="1"/>
                <c:pt idx="0">
                  <c:v>Dessert</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G$2:$G$37</c:f>
              <c:numCache>
                <c:formatCode>General</c:formatCode>
                <c:ptCount val="36"/>
                <c:pt idx="0">
                  <c:v>1.197873</c:v>
                </c:pt>
                <c:pt idx="1">
                  <c:v>1.090046</c:v>
                </c:pt>
                <c:pt idx="2">
                  <c:v>1.306192</c:v>
                </c:pt>
                <c:pt idx="3">
                  <c:v>1.207591</c:v>
                </c:pt>
                <c:pt idx="4">
                  <c:v>1.740962</c:v>
                </c:pt>
                <c:pt idx="5">
                  <c:v>1.049108</c:v>
                </c:pt>
                <c:pt idx="6">
                  <c:v>1.167321</c:v>
                </c:pt>
                <c:pt idx="7">
                  <c:v>1.499893</c:v>
                </c:pt>
                <c:pt idx="8">
                  <c:v>2.085646</c:v>
                </c:pt>
                <c:pt idx="9">
                  <c:v>1.889342</c:v>
                </c:pt>
                <c:pt idx="10">
                  <c:v>1.535167</c:v>
                </c:pt>
                <c:pt idx="11">
                  <c:v>1.576163</c:v>
                </c:pt>
                <c:pt idx="12">
                  <c:v>1.5566</c:v>
                </c:pt>
                <c:pt idx="13">
                  <c:v>1.272284</c:v>
                </c:pt>
                <c:pt idx="14">
                  <c:v>1.565634</c:v>
                </c:pt>
                <c:pt idx="15">
                  <c:v>1.417978</c:v>
                </c:pt>
                <c:pt idx="16">
                  <c:v>2.231972</c:v>
                </c:pt>
                <c:pt idx="17">
                  <c:v>1.137726</c:v>
                </c:pt>
                <c:pt idx="18">
                  <c:v>1.357234</c:v>
                </c:pt>
                <c:pt idx="19">
                  <c:v>1.994657</c:v>
                </c:pt>
                <c:pt idx="20">
                  <c:v>1.813499</c:v>
                </c:pt>
                <c:pt idx="21">
                  <c:v>2.061444</c:v>
                </c:pt>
                <c:pt idx="22">
                  <c:v>1.691068</c:v>
                </c:pt>
                <c:pt idx="23">
                  <c:v>1.71493</c:v>
                </c:pt>
                <c:pt idx="24">
                  <c:v>1.787419</c:v>
                </c:pt>
                <c:pt idx="25">
                  <c:v>1.486518</c:v>
                </c:pt>
                <c:pt idx="26">
                  <c:v>1.719597</c:v>
                </c:pt>
                <c:pt idx="27">
                  <c:v>1.656365</c:v>
                </c:pt>
                <c:pt idx="28">
                  <c:v>2.426438</c:v>
                </c:pt>
                <c:pt idx="29">
                  <c:v>1.507276</c:v>
                </c:pt>
                <c:pt idx="30">
                  <c:v>1.47502</c:v>
                </c:pt>
                <c:pt idx="31">
                  <c:v>2.246607</c:v>
                </c:pt>
                <c:pt idx="32">
                  <c:v>2.29645</c:v>
                </c:pt>
                <c:pt idx="33">
                  <c:v>2.123939</c:v>
                </c:pt>
                <c:pt idx="34">
                  <c:v>1.782734</c:v>
                </c:pt>
                <c:pt idx="35">
                  <c:v>1.772512</c:v>
                </c:pt>
              </c:numCache>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H$1</c:f>
              <c:strCache>
                <c:ptCount val="1"/>
                <c:pt idx="0">
                  <c:v>Rap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H$2:$H$37</c:f>
              <c:numCache>
                <c:formatCode>General</c:formatCode>
                <c:ptCount val="36"/>
                <c:pt idx="0">
                  <c:v>15.213587</c:v>
                </c:pt>
                <c:pt idx="1">
                  <c:v>16.298806</c:v>
                </c:pt>
                <c:pt idx="2">
                  <c:v>18.447125</c:v>
                </c:pt>
                <c:pt idx="3">
                  <c:v>18.036988</c:v>
                </c:pt>
                <c:pt idx="4">
                  <c:v>17.546043</c:v>
                </c:pt>
                <c:pt idx="5">
                  <c:v>19.367131</c:v>
                </c:pt>
                <c:pt idx="6">
                  <c:v>17.940719</c:v>
                </c:pt>
                <c:pt idx="7">
                  <c:v>18.962895</c:v>
                </c:pt>
                <c:pt idx="8">
                  <c:v>18.874439</c:v>
                </c:pt>
                <c:pt idx="9">
                  <c:v>18.044725</c:v>
                </c:pt>
                <c:pt idx="10">
                  <c:v>15.732611</c:v>
                </c:pt>
                <c:pt idx="11">
                  <c:v>17.230252</c:v>
                </c:pt>
                <c:pt idx="12">
                  <c:v>18.46148</c:v>
                </c:pt>
                <c:pt idx="13">
                  <c:v>18.488729</c:v>
                </c:pt>
                <c:pt idx="14">
                  <c:v>21.043146</c:v>
                </c:pt>
                <c:pt idx="15">
                  <c:v>20.683065</c:v>
                </c:pt>
                <c:pt idx="16">
                  <c:v>20.329008</c:v>
                </c:pt>
                <c:pt idx="17">
                  <c:v>21.672784</c:v>
                </c:pt>
                <c:pt idx="18">
                  <c:v>20.3928</c:v>
                </c:pt>
                <c:pt idx="19">
                  <c:v>21.905447</c:v>
                </c:pt>
                <c:pt idx="20">
                  <c:v>20.365087</c:v>
                </c:pt>
                <c:pt idx="21">
                  <c:v>20.165262</c:v>
                </c:pt>
                <c:pt idx="22">
                  <c:v>18.98274</c:v>
                </c:pt>
                <c:pt idx="23">
                  <c:v>19.229642</c:v>
                </c:pt>
                <c:pt idx="24">
                  <c:v>19.640403</c:v>
                </c:pt>
                <c:pt idx="25">
                  <c:v>21.689244</c:v>
                </c:pt>
                <c:pt idx="26">
                  <c:v>23.295214</c:v>
                </c:pt>
                <c:pt idx="27">
                  <c:v>23.387985</c:v>
                </c:pt>
                <c:pt idx="28">
                  <c:v>22.329035</c:v>
                </c:pt>
                <c:pt idx="29">
                  <c:v>23.826204</c:v>
                </c:pt>
                <c:pt idx="30">
                  <c:v>21.243795</c:v>
                </c:pt>
                <c:pt idx="31">
                  <c:v>23.295437</c:v>
                </c:pt>
                <c:pt idx="32">
                  <c:v>21.7116</c:v>
                </c:pt>
                <c:pt idx="33">
                  <c:v>21.347063</c:v>
                </c:pt>
                <c:pt idx="34">
                  <c:v>18.1654</c:v>
                </c:pt>
                <c:pt idx="35">
                  <c:v>19.952468</c:v>
                </c:pt>
              </c:numCache>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I$1</c:f>
              <c:strCache>
                <c:ptCount val="1"/>
                <c:pt idx="0">
                  <c:v>Plat Chaud</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I$2:$I$37</c:f>
              <c:numCache>
                <c:formatCode>General</c:formatCode>
                <c:ptCount val="36"/>
                <c:pt idx="0">
                  <c:v>1.519602</c:v>
                </c:pt>
                <c:pt idx="1">
                  <c:v>5.25882</c:v>
                </c:pt>
                <c:pt idx="2">
                  <c:v>11.613123</c:v>
                </c:pt>
                <c:pt idx="3">
                  <c:v>11.927729</c:v>
                </c:pt>
                <c:pt idx="4">
                  <c:v>11.038045</c:v>
                </c:pt>
                <c:pt idx="5">
                  <c:v>10.606518</c:v>
                </c:pt>
                <c:pt idx="6">
                  <c:v>9.615146</c:v>
                </c:pt>
                <c:pt idx="7">
                  <c:v>6.117922</c:v>
                </c:pt>
                <c:pt idx="8">
                  <c:v>3.075216</c:v>
                </c:pt>
                <c:pt idx="9">
                  <c:v>2.142375</c:v>
                </c:pt>
                <c:pt idx="10">
                  <c:v>1.25227</c:v>
                </c:pt>
                <c:pt idx="11">
                  <c:v>1.543102</c:v>
                </c:pt>
                <c:pt idx="12">
                  <c:v>1.924432</c:v>
                </c:pt>
                <c:pt idx="13">
                  <c:v>3.128198</c:v>
                </c:pt>
                <c:pt idx="14">
                  <c:v>12.301958</c:v>
                </c:pt>
                <c:pt idx="15">
                  <c:v>14.41547</c:v>
                </c:pt>
                <c:pt idx="16">
                  <c:v>13.580262</c:v>
                </c:pt>
                <c:pt idx="17">
                  <c:v>11.811536</c:v>
                </c:pt>
                <c:pt idx="18">
                  <c:v>9.381148</c:v>
                </c:pt>
                <c:pt idx="19">
                  <c:v>6.364451</c:v>
                </c:pt>
                <c:pt idx="20">
                  <c:v>2.975399</c:v>
                </c:pt>
                <c:pt idx="21">
                  <c:v>2.556062</c:v>
                </c:pt>
                <c:pt idx="22">
                  <c:v>1.753318</c:v>
                </c:pt>
                <c:pt idx="23">
                  <c:v>1.618875</c:v>
                </c:pt>
                <c:pt idx="24">
                  <c:v>1.663387</c:v>
                </c:pt>
                <c:pt idx="25">
                  <c:v>5.630458</c:v>
                </c:pt>
                <c:pt idx="26">
                  <c:v>15.009501</c:v>
                </c:pt>
                <c:pt idx="27">
                  <c:v>15.012318</c:v>
                </c:pt>
                <c:pt idx="28">
                  <c:v>14.162336</c:v>
                </c:pt>
                <c:pt idx="29">
                  <c:v>12.848815</c:v>
                </c:pt>
                <c:pt idx="30">
                  <c:v>11.213321</c:v>
                </c:pt>
                <c:pt idx="31">
                  <c:v>6.235565</c:v>
                </c:pt>
                <c:pt idx="32">
                  <c:v>2.7811</c:v>
                </c:pt>
                <c:pt idx="33">
                  <c:v>2.391475</c:v>
                </c:pt>
                <c:pt idx="34">
                  <c:v>1.427815</c:v>
                </c:pt>
                <c:pt idx="35">
                  <c:v>1.601393</c:v>
                </c:pt>
              </c:numCache>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J$1</c:f>
              <c:strCache>
                <c:ptCount val="1"/>
                <c:pt idx="0">
                  <c:v>Pate Persille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J$2:$J$37</c:f>
              <c:numCache>
                <c:formatCode>General</c:formatCode>
                <c:ptCount val="36"/>
                <c:pt idx="0">
                  <c:v>3.935137</c:v>
                </c:pt>
                <c:pt idx="1">
                  <c:v>3.788538</c:v>
                </c:pt>
                <c:pt idx="2">
                  <c:v>4.173872</c:v>
                </c:pt>
                <c:pt idx="3">
                  <c:v>4.083727</c:v>
                </c:pt>
                <c:pt idx="4">
                  <c:v>4.69496</c:v>
                </c:pt>
                <c:pt idx="5">
                  <c:v>4.061391</c:v>
                </c:pt>
                <c:pt idx="6">
                  <c:v>3.805645</c:v>
                </c:pt>
                <c:pt idx="7">
                  <c:v>4.183228</c:v>
                </c:pt>
                <c:pt idx="8">
                  <c:v>4.212732</c:v>
                </c:pt>
                <c:pt idx="9">
                  <c:v>4.187421</c:v>
                </c:pt>
                <c:pt idx="10">
                  <c:v>3.812447</c:v>
                </c:pt>
                <c:pt idx="11">
                  <c:v>3.960273</c:v>
                </c:pt>
                <c:pt idx="12">
                  <c:v>4.111188</c:v>
                </c:pt>
                <c:pt idx="13">
                  <c:v>3.821436</c:v>
                </c:pt>
                <c:pt idx="14">
                  <c:v>4.595104</c:v>
                </c:pt>
                <c:pt idx="15">
                  <c:v>4.41869</c:v>
                </c:pt>
                <c:pt idx="16">
                  <c:v>5.075859</c:v>
                </c:pt>
                <c:pt idx="17">
                  <c:v>4.083328</c:v>
                </c:pt>
                <c:pt idx="18">
                  <c:v>3.99028</c:v>
                </c:pt>
                <c:pt idx="19">
                  <c:v>4.676677</c:v>
                </c:pt>
                <c:pt idx="20">
                  <c:v>3.877764</c:v>
                </c:pt>
                <c:pt idx="21">
                  <c:v>4.423437</c:v>
                </c:pt>
                <c:pt idx="22">
                  <c:v>3.654034</c:v>
                </c:pt>
                <c:pt idx="23">
                  <c:v>3.73539</c:v>
                </c:pt>
                <c:pt idx="24">
                  <c:v>3.972923</c:v>
                </c:pt>
                <c:pt idx="25">
                  <c:v>3.975234</c:v>
                </c:pt>
                <c:pt idx="26">
                  <c:v>4.935991</c:v>
                </c:pt>
                <c:pt idx="27">
                  <c:v>4.582853</c:v>
                </c:pt>
                <c:pt idx="28">
                  <c:v>5.413979</c:v>
                </c:pt>
                <c:pt idx="29">
                  <c:v>4.329663</c:v>
                </c:pt>
                <c:pt idx="30">
                  <c:v>4.598065</c:v>
                </c:pt>
                <c:pt idx="31">
                  <c:v>4.557055</c:v>
                </c:pt>
                <c:pt idx="32">
                  <c:v>4.91301</c:v>
                </c:pt>
                <c:pt idx="33">
                  <c:v>4.475662</c:v>
                </c:pt>
                <c:pt idx="34">
                  <c:v>3.834377</c:v>
                </c:pt>
                <c:pt idx="35">
                  <c:v>4.201191</c:v>
                </c:pt>
              </c:numCache>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K$1</c:f>
              <c:strCache>
                <c:ptCount val="1"/>
                <c:pt idx="0">
                  <c:v>Ingredient A Chaud</c:v>
                </c:pt>
              </c:strCache>
            </c:strRef>
          </c:tx>
          <c:spPr>
            <a:solidFill>
              <a:srgbClr val="00504B"/>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K$2:$K$37</c:f>
              <c:numCache>
                <c:formatCode>General</c:formatCode>
                <c:ptCount val="36"/>
                <c:pt idx="0">
                  <c:v>1.98691</c:v>
                </c:pt>
                <c:pt idx="1">
                  <c:v>2.177431</c:v>
                </c:pt>
                <c:pt idx="2">
                  <c:v>2.364947</c:v>
                </c:pt>
                <c:pt idx="3">
                  <c:v>2.364815</c:v>
                </c:pt>
                <c:pt idx="4">
                  <c:v>2.163002</c:v>
                </c:pt>
                <c:pt idx="5">
                  <c:v>2.491782</c:v>
                </c:pt>
                <c:pt idx="6">
                  <c:v>2.554959</c:v>
                </c:pt>
                <c:pt idx="7">
                  <c:v>2.790456</c:v>
                </c:pt>
                <c:pt idx="8">
                  <c:v>2.730783</c:v>
                </c:pt>
                <c:pt idx="9">
                  <c:v>2.470414</c:v>
                </c:pt>
                <c:pt idx="10">
                  <c:v>2.311213</c:v>
                </c:pt>
                <c:pt idx="11">
                  <c:v>2.461187</c:v>
                </c:pt>
                <c:pt idx="12">
                  <c:v>2.534335</c:v>
                </c:pt>
                <c:pt idx="13">
                  <c:v>2.482213</c:v>
                </c:pt>
                <c:pt idx="14">
                  <c:v>2.749566</c:v>
                </c:pt>
                <c:pt idx="15">
                  <c:v>2.670306</c:v>
                </c:pt>
                <c:pt idx="16">
                  <c:v>2.594121</c:v>
                </c:pt>
                <c:pt idx="17">
                  <c:v>2.792036</c:v>
                </c:pt>
                <c:pt idx="18">
                  <c:v>2.896985</c:v>
                </c:pt>
                <c:pt idx="19">
                  <c:v>3.052466</c:v>
                </c:pt>
                <c:pt idx="20">
                  <c:v>2.917681</c:v>
                </c:pt>
                <c:pt idx="21">
                  <c:v>2.721954</c:v>
                </c:pt>
                <c:pt idx="22">
                  <c:v>2.824701</c:v>
                </c:pt>
                <c:pt idx="23">
                  <c:v>2.667069</c:v>
                </c:pt>
                <c:pt idx="24">
                  <c:v>2.810897</c:v>
                </c:pt>
                <c:pt idx="25">
                  <c:v>2.836654</c:v>
                </c:pt>
                <c:pt idx="26">
                  <c:v>3.023072</c:v>
                </c:pt>
                <c:pt idx="27">
                  <c:v>2.892574</c:v>
                </c:pt>
                <c:pt idx="28">
                  <c:v>2.764174</c:v>
                </c:pt>
                <c:pt idx="29">
                  <c:v>2.976672</c:v>
                </c:pt>
                <c:pt idx="30">
                  <c:v>3.193438</c:v>
                </c:pt>
                <c:pt idx="31">
                  <c:v>3.622547</c:v>
                </c:pt>
                <c:pt idx="32">
                  <c:v>3.087904</c:v>
                </c:pt>
                <c:pt idx="33">
                  <c:v>2.833786</c:v>
                </c:pt>
                <c:pt idx="34">
                  <c:v>2.597431</c:v>
                </c:pt>
                <c:pt idx="35">
                  <c:v>2.696481</c:v>
                </c:pt>
              </c:numCache>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L$1</c:f>
              <c:strCache>
                <c:ptCount val="1"/>
                <c:pt idx="0">
                  <c:v>Alternative Vegetal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L$2:$L$37</c:f>
              <c:numCache>
                <c:formatCode>General</c:formatCode>
                <c:ptCount val="36"/>
                <c:pt idx="0">
                  <c:v>0.024833</c:v>
                </c:pt>
                <c:pt idx="1">
                  <c:v>0.0215</c:v>
                </c:pt>
                <c:pt idx="2">
                  <c:v>0.030728</c:v>
                </c:pt>
                <c:pt idx="3">
                  <c:v>0.022968</c:v>
                </c:pt>
                <c:pt idx="4">
                  <c:v>0.025758</c:v>
                </c:pt>
                <c:pt idx="5">
                  <c:v>0.02769</c:v>
                </c:pt>
                <c:pt idx="6">
                  <c:v>0.027412</c:v>
                </c:pt>
                <c:pt idx="7">
                  <c:v>0.028547</c:v>
                </c:pt>
                <c:pt idx="8">
                  <c:v>0.03424</c:v>
                </c:pt>
                <c:pt idx="9">
                  <c:v>0.035857</c:v>
                </c:pt>
                <c:pt idx="10">
                  <c:v>0.046064</c:v>
                </c:pt>
                <c:pt idx="11">
                  <c:v>0.05138</c:v>
                </c:pt>
                <c:pt idx="12">
                  <c:v>0.056721</c:v>
                </c:pt>
                <c:pt idx="13">
                  <c:v>0.04945</c:v>
                </c:pt>
                <c:pt idx="14">
                  <c:v>0.054526</c:v>
                </c:pt>
                <c:pt idx="15">
                  <c:v>0.053375</c:v>
                </c:pt>
                <c:pt idx="16">
                  <c:v>0.063041</c:v>
                </c:pt>
                <c:pt idx="17">
                  <c:v>0.07178</c:v>
                </c:pt>
                <c:pt idx="18">
                  <c:v>0.06691</c:v>
                </c:pt>
                <c:pt idx="19">
                  <c:v>0.067911</c:v>
                </c:pt>
                <c:pt idx="20">
                  <c:v>0.105614</c:v>
                </c:pt>
                <c:pt idx="21">
                  <c:v>0.101391</c:v>
                </c:pt>
                <c:pt idx="22">
                  <c:v>0.104727</c:v>
                </c:pt>
                <c:pt idx="23">
                  <c:v>0.123863</c:v>
                </c:pt>
                <c:pt idx="24">
                  <c:v>0.136967</c:v>
                </c:pt>
                <c:pt idx="25">
                  <c:v>0.132302</c:v>
                </c:pt>
                <c:pt idx="26">
                  <c:v>0.144942</c:v>
                </c:pt>
                <c:pt idx="27">
                  <c:v>0.140035</c:v>
                </c:pt>
                <c:pt idx="28">
                  <c:v>0.149486</c:v>
                </c:pt>
                <c:pt idx="29">
                  <c:v>0.169681</c:v>
                </c:pt>
                <c:pt idx="30">
                  <c:v>0.134322</c:v>
                </c:pt>
                <c:pt idx="31">
                  <c:v>0.169271</c:v>
                </c:pt>
                <c:pt idx="32">
                  <c:v>0.150469</c:v>
                </c:pt>
                <c:pt idx="33">
                  <c:v>0.148691</c:v>
                </c:pt>
                <c:pt idx="34">
                  <c:v>0.145232</c:v>
                </c:pt>
                <c:pt idx="35">
                  <c:v>0.158288</c:v>
                </c:pt>
              </c:numCache>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M$1</c:f>
              <c:strCache>
                <c:ptCount val="1"/>
                <c:pt idx="0">
                  <c:v>Cheese With Soft Textur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M$2:$M$9</c:f>
              <c:numCache>
                <c:formatCode>General</c:formatCode>
                <c:ptCount val="8"/>
                <c:pt idx="0">
                  <c:v>3.5e-05</c:v>
                </c:pt>
                <c:pt idx="1">
                  <c:v>0.000218</c:v>
                </c:pt>
                <c:pt idx="2">
                  <c:v>0.001022</c:v>
                </c:pt>
                <c:pt idx="3">
                  <c:v>0.002025</c:v>
                </c:pt>
                <c:pt idx="4">
                  <c:v>0.000413</c:v>
                </c:pt>
                <c:pt idx="5">
                  <c:v>0.000539</c:v>
                </c:pt>
                <c:pt idx="6">
                  <c:v>0.000473</c:v>
                </c:pt>
                <c:pt idx="7">
                  <c:v>0.004882</c:v>
                </c:pt>
              </c:numCache>
            </c:numRef>
          </c:val>
          <c:extLst>
            <c:ext xmlns:c16="http://schemas.microsoft.com/office/drawing/2014/chart" uri="{C3380CC4-5D6E-409C-BE32-E72D297353CC}">
              <c16:uniqueId val="{0000000A-CB01-4B89-A725-1CA2D0FD4A84}"/>
            </c:ext>
          </c:extLst>
        </c:ser>
        <c:ser>
          <c:idx val="14"/>
          <c:order val="14"/>
          <c:tx>
            <c:strRef>
              <c:f>Sheet1!$N$1</c:f>
              <c:strCache>
                <c:ptCount val="1"/>
                <c:pt idx="0">
                  <c:v>Cheese With Hard And Semi-Hard Texture</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N$2:$N$5</c:f>
              <c:numCache>
                <c:formatCode>General</c:formatCode>
                <c:ptCount val="4"/>
                <c:pt idx="0">
                  <c:v>0.000129</c:v>
                </c:pt>
                <c:pt idx="1">
                  <c:v>0.000108</c:v>
                </c:pt>
                <c:pt idx="2">
                  <c:v>0.000401</c:v>
                </c:pt>
                <c:pt idx="3">
                  <c:v>5.5e-05</c:v>
                </c:pt>
              </c:numCache>
            </c:numRef>
          </c:val>
          <c:extLst>
            <c:ext xmlns:c16="http://schemas.microsoft.com/office/drawing/2014/chart" uri="{C3380CC4-5D6E-409C-BE32-E72D297353CC}">
              <c16:uniqueId val="{0000000B-CB01-4B89-A725-1CA2D0FD4A84}"/>
            </c:ext>
          </c:extLst>
        </c:ser>
        <c:ser>
          <c:idx val="15"/>
          <c:order val="15"/>
          <c:tx>
            <c:strRef>
              <c:f>Sheet1!$O$1</c:f>
              <c:strCache>
                <c:ptCount val="1"/>
                <c:pt idx="0">
                  <c:v>Snack</c:v>
                </c:pt>
              </c:strCache>
            </c:strRef>
          </c:tx>
          <c:spPr>
            <a:solidFill>
              <a:srgbClr val="7F7F7F"/>
            </a:solidFill>
            <a:ln>
              <a:noFill/>
            </a:ln>
            <a:effectLst/>
          </c:spPr>
          <c:invertIfNegative val="0"/>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O$2:$O$4</c:f>
              <c:numCache>
                <c:formatCode>General</c:formatCode>
                <c:ptCount val="3"/>
                <c:pt idx="0">
                  <c:v>0.005768</c:v>
                </c:pt>
                <c:pt idx="1">
                  <c:v>0.010792</c:v>
                </c:pt>
                <c:pt idx="2">
                  <c:v>0.01395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P$1</c:f>
              <c:strCache>
                <c:ptCount val="1"/>
                <c:pt idx="0">
                  <c:v>Total</c:v>
                </c:pt>
              </c:strCache>
            </c:strRef>
          </c:tx>
          <c:spPr>
            <a:solidFill>
              <a:srgbClr val="7F7F7F"/>
            </a:solidFill>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7</c:f>
              <c:strCache>
                <c:ptCount val="36"/>
                <c:pt idx="0">
                  <c:v>Aug-22</c:v>
                </c:pt>
                <c:pt idx="1">
                  <c:v>Sep-22</c:v>
                </c:pt>
                <c:pt idx="2">
                  <c:v>Oct-22</c:v>
                </c:pt>
                <c:pt idx="3">
                  <c:v>Nov-22</c:v>
                </c:pt>
                <c:pt idx="4">
                  <c:v>Dec-22</c:v>
                </c:pt>
                <c:pt idx="5">
                  <c:v>Jan-23</c:v>
                </c:pt>
                <c:pt idx="6">
                  <c:v>Feb-23</c:v>
                </c:pt>
                <c:pt idx="7">
                  <c:v>Mar-23</c:v>
                </c:pt>
                <c:pt idx="8">
                  <c:v>Apr-23</c:v>
                </c:pt>
                <c:pt idx="9">
                  <c:v>May-23</c:v>
                </c:pt>
                <c:pt idx="10">
                  <c:v>Jun-23</c:v>
                </c:pt>
                <c:pt idx="11">
                  <c:v>Jul-23</c:v>
                </c:pt>
                <c:pt idx="12">
                  <c:v>Aug-23</c:v>
                </c:pt>
                <c:pt idx="13">
                  <c:v>Sep-23</c:v>
                </c:pt>
                <c:pt idx="14">
                  <c:v>Oct-23</c:v>
                </c:pt>
                <c:pt idx="15">
                  <c:v>Nov-23</c:v>
                </c:pt>
                <c:pt idx="16">
                  <c:v>Dec-23</c:v>
                </c:pt>
                <c:pt idx="17">
                  <c:v>Jan-24</c:v>
                </c:pt>
                <c:pt idx="18">
                  <c:v>Feb-24</c:v>
                </c:pt>
                <c:pt idx="19">
                  <c:v>Mar-24</c:v>
                </c:pt>
                <c:pt idx="20">
                  <c:v>Apr-24</c:v>
                </c:pt>
                <c:pt idx="21">
                  <c:v>May-24</c:v>
                </c:pt>
                <c:pt idx="22">
                  <c:v>Jun-24</c:v>
                </c:pt>
                <c:pt idx="23">
                  <c:v>Jul-24</c:v>
                </c:pt>
                <c:pt idx="24">
                  <c:v>Aug-24</c:v>
                </c:pt>
                <c:pt idx="25">
                  <c:v>Sep-24</c:v>
                </c:pt>
                <c:pt idx="26">
                  <c:v>Oct-24</c:v>
                </c:pt>
                <c:pt idx="27">
                  <c:v>Nov-24</c:v>
                </c:pt>
                <c:pt idx="28">
                  <c:v>Dec-24</c:v>
                </c:pt>
                <c:pt idx="29">
                  <c:v>Jan-25</c:v>
                </c:pt>
                <c:pt idx="30">
                  <c:v>Feb-25</c:v>
                </c:pt>
                <c:pt idx="31">
                  <c:v>Mar-25</c:v>
                </c:pt>
                <c:pt idx="32">
                  <c:v>Apr-25</c:v>
                </c:pt>
                <c:pt idx="33">
                  <c:v>May-25</c:v>
                </c:pt>
                <c:pt idx="34">
                  <c:v>Jun-25</c:v>
                </c:pt>
                <c:pt idx="35">
                  <c:v>Jul-25</c:v>
                </c:pt>
              </c:strCache>
            </c:strRef>
          </c:cat>
          <c:val>
            <c:numRef>
              <c:f>Sheet1!$P$2:$P$37</c:f>
              <c:numCache>
                <c:formatCode>General</c:formatCode>
                <c:ptCount val="36"/>
                <c:pt idx="0">
                  <c:v>93.2108</c:v>
                </c:pt>
                <c:pt idx="1">
                  <c:v>88.237669</c:v>
                </c:pt>
                <c:pt idx="2">
                  <c:v>98.14466</c:v>
                </c:pt>
                <c:pt idx="3">
                  <c:v>95.465228</c:v>
                </c:pt>
                <c:pt idx="4">
                  <c:v>96.65835</c:v>
                </c:pt>
                <c:pt idx="5">
                  <c:v>94.799942</c:v>
                </c:pt>
                <c:pt idx="6">
                  <c:v>92.243786</c:v>
                </c:pt>
                <c:pt idx="7">
                  <c:v>96.039286</c:v>
                </c:pt>
                <c:pt idx="8">
                  <c:v>96.890739</c:v>
                </c:pt>
                <c:pt idx="9">
                  <c:v>100.450646</c:v>
                </c:pt>
                <c:pt idx="10">
                  <c:v>97.611032</c:v>
                </c:pt>
                <c:pt idx="11">
                  <c:v>107.502226</c:v>
                </c:pt>
                <c:pt idx="12">
                  <c:v>109.336246</c:v>
                </c:pt>
                <c:pt idx="13">
                  <c:v>99.206284</c:v>
                </c:pt>
                <c:pt idx="14">
                  <c:v>110.164525</c:v>
                </c:pt>
                <c:pt idx="15">
                  <c:v>107.7382</c:v>
                </c:pt>
                <c:pt idx="16">
                  <c:v>112.539513</c:v>
                </c:pt>
                <c:pt idx="17">
                  <c:v>102.946182</c:v>
                </c:pt>
                <c:pt idx="18">
                  <c:v>101.177231</c:v>
                </c:pt>
                <c:pt idx="19">
                  <c:v>107.42187</c:v>
                </c:pt>
                <c:pt idx="20">
                  <c:v>100.402162</c:v>
                </c:pt>
                <c:pt idx="21">
                  <c:v>109.628448</c:v>
                </c:pt>
                <c:pt idx="22">
                  <c:v>107.150467</c:v>
                </c:pt>
                <c:pt idx="23">
                  <c:v>116.201039</c:v>
                </c:pt>
                <c:pt idx="24">
                  <c:v>120.379897</c:v>
                </c:pt>
                <c:pt idx="25">
                  <c:v>110.871351</c:v>
                </c:pt>
                <c:pt idx="26">
                  <c:v>121.751318</c:v>
                </c:pt>
                <c:pt idx="27">
                  <c:v>118.432274</c:v>
                </c:pt>
                <c:pt idx="28">
                  <c:v>120.647643</c:v>
                </c:pt>
                <c:pt idx="29">
                  <c:v>115.701714</c:v>
                </c:pt>
                <c:pt idx="30">
                  <c:v>108.555786</c:v>
                </c:pt>
                <c:pt idx="31">
                  <c:v>114.418727</c:v>
                </c:pt>
                <c:pt idx="32">
                  <c:v>113.777381</c:v>
                </c:pt>
                <c:pt idx="33">
                  <c:v>118.984064</c:v>
                </c:pt>
                <c:pt idx="34">
                  <c:v>117.612847</c:v>
                </c:pt>
                <c:pt idx="35">
                  <c:v>126.299774</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742,00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215,96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44,1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1742002</c:v>
                </c:pt>
                <c:pt idx="1">
                  <c:v>1716008</c:v>
                </c:pt>
                <c:pt idx="2">
                  <c:v>1216665</c:v>
                </c:pt>
                <c:pt idx="3">
                  <c:v>1622153</c:v>
                </c:pt>
                <c:pt idx="4">
                  <c:v>1478553</c:v>
                </c:pt>
                <c:pt idx="5">
                  <c:v>2000185</c:v>
                </c:pt>
                <c:pt idx="6">
                  <c:v>1147095</c:v>
                </c:pt>
                <c:pt idx="7">
                  <c:v>1493972</c:v>
                </c:pt>
                <c:pt idx="8">
                  <c:v>1529413</c:v>
                </c:pt>
                <c:pt idx="9">
                  <c:v>1225471</c:v>
                </c:pt>
                <c:pt idx="10">
                  <c:v>1840071</c:v>
                </c:pt>
                <c:pt idx="11">
                  <c:v>1823234</c:v>
                </c:pt>
                <c:pt idx="12">
                  <c:v>1928032</c:v>
                </c:pt>
                <c:pt idx="13">
                  <c:v>2215965</c:v>
                </c:pt>
                <c:pt idx="14">
                  <c:v>1365051</c:v>
                </c:pt>
                <c:pt idx="15">
                  <c:v>1637195</c:v>
                </c:pt>
                <c:pt idx="16">
                  <c:v>1593144</c:v>
                </c:pt>
                <c:pt idx="17">
                  <c:v>2301477</c:v>
                </c:pt>
                <c:pt idx="18">
                  <c:v>1302593</c:v>
                </c:pt>
                <c:pt idx="19">
                  <c:v>1540007</c:v>
                </c:pt>
                <c:pt idx="20">
                  <c:v>1562788</c:v>
                </c:pt>
                <c:pt idx="21">
                  <c:v>1675787</c:v>
                </c:pt>
                <c:pt idx="22">
                  <c:v>2065569</c:v>
                </c:pt>
                <c:pt idx="23">
                  <c:v>1882854</c:v>
                </c:pt>
                <c:pt idx="24">
                  <c:v>164417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8.4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7.5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7.9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8.42</c:v>
                </c:pt>
                <c:pt idx="1">
                  <c:v>18.16</c:v>
                </c:pt>
                <c:pt idx="2">
                  <c:v>17.63</c:v>
                </c:pt>
                <c:pt idx="3">
                  <c:v>16.86</c:v>
                </c:pt>
                <c:pt idx="4">
                  <c:v>16.94</c:v>
                </c:pt>
                <c:pt idx="5">
                  <c:v>17.11</c:v>
                </c:pt>
                <c:pt idx="6">
                  <c:v>17.15</c:v>
                </c:pt>
                <c:pt idx="7">
                  <c:v>16.78</c:v>
                </c:pt>
                <c:pt idx="8">
                  <c:v>15.93</c:v>
                </c:pt>
                <c:pt idx="9">
                  <c:v>17.58</c:v>
                </c:pt>
                <c:pt idx="10">
                  <c:v>16.62</c:v>
                </c:pt>
                <c:pt idx="11">
                  <c:v>17.08</c:v>
                </c:pt>
                <c:pt idx="12">
                  <c:v>16.57</c:v>
                </c:pt>
                <c:pt idx="13">
                  <c:v>17.58</c:v>
                </c:pt>
                <c:pt idx="14">
                  <c:v>17.25</c:v>
                </c:pt>
                <c:pt idx="15">
                  <c:v>16.61</c:v>
                </c:pt>
                <c:pt idx="16">
                  <c:v>16.47</c:v>
                </c:pt>
                <c:pt idx="17">
                  <c:v>15.93</c:v>
                </c:pt>
                <c:pt idx="18">
                  <c:v>16.86</c:v>
                </c:pt>
                <c:pt idx="19">
                  <c:v>16.49</c:v>
                </c:pt>
                <c:pt idx="20">
                  <c:v>16.07</c:v>
                </c:pt>
                <c:pt idx="21">
                  <c:v>17.59</c:v>
                </c:pt>
                <c:pt idx="22">
                  <c:v>17.99</c:v>
                </c:pt>
                <c:pt idx="23">
                  <c:v>18.18</c:v>
                </c:pt>
                <c:pt idx="24">
                  <c:v>17.9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12,673,90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28,113,4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58,289,0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412673906</c:v>
                </c:pt>
                <c:pt idx="1">
                  <c:v>410430210</c:v>
                </c:pt>
                <c:pt idx="2">
                  <c:v>360249029</c:v>
                </c:pt>
                <c:pt idx="3">
                  <c:v>331605630</c:v>
                </c:pt>
                <c:pt idx="4">
                  <c:v>304466845</c:v>
                </c:pt>
                <c:pt idx="5">
                  <c:v>323461497</c:v>
                </c:pt>
                <c:pt idx="6">
                  <c:v>295275513</c:v>
                </c:pt>
                <c:pt idx="7">
                  <c:v>294019175</c:v>
                </c:pt>
                <c:pt idx="8">
                  <c:v>338427543</c:v>
                </c:pt>
                <c:pt idx="9">
                  <c:v>334329986</c:v>
                </c:pt>
                <c:pt idx="10">
                  <c:v>380364760</c:v>
                </c:pt>
                <c:pt idx="11">
                  <c:v>382529883</c:v>
                </c:pt>
                <c:pt idx="12">
                  <c:v>416949109</c:v>
                </c:pt>
                <c:pt idx="13">
                  <c:v>428113426</c:v>
                </c:pt>
                <c:pt idx="14">
                  <c:v>359447692</c:v>
                </c:pt>
                <c:pt idx="15">
                  <c:v>331514227</c:v>
                </c:pt>
                <c:pt idx="16">
                  <c:v>315117355</c:v>
                </c:pt>
                <c:pt idx="17">
                  <c:v>382672232</c:v>
                </c:pt>
                <c:pt idx="18">
                  <c:v>327985587</c:v>
                </c:pt>
                <c:pt idx="19">
                  <c:v>295710966</c:v>
                </c:pt>
                <c:pt idx="20">
                  <c:v>339143873</c:v>
                </c:pt>
                <c:pt idx="21">
                  <c:v>358743325</c:v>
                </c:pt>
                <c:pt idx="22">
                  <c:v>408938913</c:v>
                </c:pt>
                <c:pt idx="23">
                  <c:v>434055878</c:v>
                </c:pt>
                <c:pt idx="24">
                  <c:v>45828905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1.4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1.5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1.6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1.44</c:v>
                </c:pt>
                <c:pt idx="1">
                  <c:v>11.44</c:v>
                </c:pt>
                <c:pt idx="2">
                  <c:v>11.18</c:v>
                </c:pt>
                <c:pt idx="3">
                  <c:v>10.98</c:v>
                </c:pt>
                <c:pt idx="4">
                  <c:v>10.96</c:v>
                </c:pt>
                <c:pt idx="5">
                  <c:v>11.23</c:v>
                </c:pt>
                <c:pt idx="6">
                  <c:v>10.83</c:v>
                </c:pt>
                <c:pt idx="7">
                  <c:v>10.87</c:v>
                </c:pt>
                <c:pt idx="8">
                  <c:v>10.95</c:v>
                </c:pt>
                <c:pt idx="9">
                  <c:v>11.19</c:v>
                </c:pt>
                <c:pt idx="10">
                  <c:v>11.2</c:v>
                </c:pt>
                <c:pt idx="11">
                  <c:v>11.29</c:v>
                </c:pt>
                <c:pt idx="12">
                  <c:v>11.43</c:v>
                </c:pt>
                <c:pt idx="13">
                  <c:v>11.52</c:v>
                </c:pt>
                <c:pt idx="14">
                  <c:v>11.15</c:v>
                </c:pt>
                <c:pt idx="15">
                  <c:v>11.01</c:v>
                </c:pt>
                <c:pt idx="16">
                  <c:v>10.98</c:v>
                </c:pt>
                <c:pt idx="17">
                  <c:v>10.79</c:v>
                </c:pt>
                <c:pt idx="18">
                  <c:v>10.81</c:v>
                </c:pt>
                <c:pt idx="19">
                  <c:v>10.85</c:v>
                </c:pt>
                <c:pt idx="20">
                  <c:v>10.92</c:v>
                </c:pt>
                <c:pt idx="21">
                  <c:v>11.32</c:v>
                </c:pt>
                <c:pt idx="22">
                  <c:v>11.39</c:v>
                </c:pt>
                <c:pt idx="23">
                  <c:v>11.59</c:v>
                </c:pt>
                <c:pt idx="24">
                  <c:v>11.6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9,007,19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9,227,52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7,697,97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69007197</c:v>
                </c:pt>
                <c:pt idx="1">
                  <c:v>68915899</c:v>
                </c:pt>
                <c:pt idx="2">
                  <c:v>61081275</c:v>
                </c:pt>
                <c:pt idx="3">
                  <c:v>55637529</c:v>
                </c:pt>
                <c:pt idx="4">
                  <c:v>49645719</c:v>
                </c:pt>
                <c:pt idx="5">
                  <c:v>53553794</c:v>
                </c:pt>
                <c:pt idx="6">
                  <c:v>48913264</c:v>
                </c:pt>
                <c:pt idx="7">
                  <c:v>48654036</c:v>
                </c:pt>
                <c:pt idx="8">
                  <c:v>57258085</c:v>
                </c:pt>
                <c:pt idx="9">
                  <c:v>56011379</c:v>
                </c:pt>
                <c:pt idx="10">
                  <c:v>62507702</c:v>
                </c:pt>
                <c:pt idx="11">
                  <c:v>63336525</c:v>
                </c:pt>
                <c:pt idx="12">
                  <c:v>67086375</c:v>
                </c:pt>
                <c:pt idx="13">
                  <c:v>69227525</c:v>
                </c:pt>
                <c:pt idx="14">
                  <c:v>58079967</c:v>
                </c:pt>
                <c:pt idx="15">
                  <c:v>54118177</c:v>
                </c:pt>
                <c:pt idx="16">
                  <c:v>52567161</c:v>
                </c:pt>
                <c:pt idx="17">
                  <c:v>70229764</c:v>
                </c:pt>
                <c:pt idx="18">
                  <c:v>56861900</c:v>
                </c:pt>
                <c:pt idx="19">
                  <c:v>51541069</c:v>
                </c:pt>
                <c:pt idx="20">
                  <c:v>59270893</c:v>
                </c:pt>
                <c:pt idx="21">
                  <c:v>60902448</c:v>
                </c:pt>
                <c:pt idx="22">
                  <c:v>69590316</c:v>
                </c:pt>
                <c:pt idx="23">
                  <c:v>74602824</c:v>
                </c:pt>
                <c:pt idx="24">
                  <c:v>7769797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5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2.2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5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2.5</c:v>
                </c:pt>
                <c:pt idx="1">
                  <c:v>12.41</c:v>
                </c:pt>
                <c:pt idx="2">
                  <c:v>12.17</c:v>
                </c:pt>
                <c:pt idx="3">
                  <c:v>11.9</c:v>
                </c:pt>
                <c:pt idx="4">
                  <c:v>11.96</c:v>
                </c:pt>
                <c:pt idx="5">
                  <c:v>12.32</c:v>
                </c:pt>
                <c:pt idx="6">
                  <c:v>11.79</c:v>
                </c:pt>
                <c:pt idx="7">
                  <c:v>11.73</c:v>
                </c:pt>
                <c:pt idx="8">
                  <c:v>11.58</c:v>
                </c:pt>
                <c:pt idx="9">
                  <c:v>12.07</c:v>
                </c:pt>
                <c:pt idx="10">
                  <c:v>12.01</c:v>
                </c:pt>
                <c:pt idx="11">
                  <c:v>12.08</c:v>
                </c:pt>
                <c:pt idx="12">
                  <c:v>12.32</c:v>
                </c:pt>
                <c:pt idx="13">
                  <c:v>12.27</c:v>
                </c:pt>
                <c:pt idx="14">
                  <c:v>11.95</c:v>
                </c:pt>
                <c:pt idx="15">
                  <c:v>11.78</c:v>
                </c:pt>
                <c:pt idx="16">
                  <c:v>11.82</c:v>
                </c:pt>
                <c:pt idx="17">
                  <c:v>11.78</c:v>
                </c:pt>
                <c:pt idx="18">
                  <c:v>11.64</c:v>
                </c:pt>
                <c:pt idx="19">
                  <c:v>11.48</c:v>
                </c:pt>
                <c:pt idx="20">
                  <c:v>11.58</c:v>
                </c:pt>
                <c:pt idx="21">
                  <c:v>12.25</c:v>
                </c:pt>
                <c:pt idx="22">
                  <c:v>12.29</c:v>
                </c:pt>
                <c:pt idx="23">
                  <c:v>12.46</c:v>
                </c:pt>
                <c:pt idx="24">
                  <c:v>12.5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1,200,33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7,697,7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62,338,8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51200337</c:v>
                </c:pt>
                <c:pt idx="1">
                  <c:v>50869002</c:v>
                </c:pt>
                <c:pt idx="2">
                  <c:v>43567141</c:v>
                </c:pt>
                <c:pt idx="3">
                  <c:v>40198773</c:v>
                </c:pt>
                <c:pt idx="4">
                  <c:v>37135792</c:v>
                </c:pt>
                <c:pt idx="5">
                  <c:v>38626706</c:v>
                </c:pt>
                <c:pt idx="6">
                  <c:v>35905149</c:v>
                </c:pt>
                <c:pt idx="7">
                  <c:v>36587755</c:v>
                </c:pt>
                <c:pt idx="8">
                  <c:v>41125473</c:v>
                </c:pt>
                <c:pt idx="9">
                  <c:v>41761415</c:v>
                </c:pt>
                <c:pt idx="10">
                  <c:v>48040689</c:v>
                </c:pt>
                <c:pt idx="11">
                  <c:v>48881516</c:v>
                </c:pt>
                <c:pt idx="12">
                  <c:v>55241598</c:v>
                </c:pt>
                <c:pt idx="13">
                  <c:v>57697781</c:v>
                </c:pt>
                <c:pt idx="14">
                  <c:v>46095662</c:v>
                </c:pt>
                <c:pt idx="15">
                  <c:v>43218768</c:v>
                </c:pt>
                <c:pt idx="16">
                  <c:v>41300912</c:v>
                </c:pt>
                <c:pt idx="17">
                  <c:v>41706794</c:v>
                </c:pt>
                <c:pt idx="18">
                  <c:v>40268314</c:v>
                </c:pt>
                <c:pt idx="19">
                  <c:v>38738231</c:v>
                </c:pt>
                <c:pt idx="20">
                  <c:v>44403342</c:v>
                </c:pt>
                <c:pt idx="21">
                  <c:v>47795374</c:v>
                </c:pt>
                <c:pt idx="22">
                  <c:v>53744735</c:v>
                </c:pt>
                <c:pt idx="23">
                  <c:v>57833075</c:v>
                </c:pt>
                <c:pt idx="24">
                  <c:v>6233886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1.2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1.4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1.6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1.26</c:v>
                </c:pt>
                <c:pt idx="1">
                  <c:v>11.37</c:v>
                </c:pt>
                <c:pt idx="2">
                  <c:v>11.11</c:v>
                </c:pt>
                <c:pt idx="3">
                  <c:v>10.92</c:v>
                </c:pt>
                <c:pt idx="4">
                  <c:v>10.83</c:v>
                </c:pt>
                <c:pt idx="5">
                  <c:v>11.04</c:v>
                </c:pt>
                <c:pt idx="6">
                  <c:v>10.82</c:v>
                </c:pt>
                <c:pt idx="7">
                  <c:v>10.86</c:v>
                </c:pt>
                <c:pt idx="8">
                  <c:v>10.86</c:v>
                </c:pt>
                <c:pt idx="9">
                  <c:v>11.15</c:v>
                </c:pt>
                <c:pt idx="10">
                  <c:v>11.04</c:v>
                </c:pt>
                <c:pt idx="11">
                  <c:v>11.12</c:v>
                </c:pt>
                <c:pt idx="12">
                  <c:v>11.33</c:v>
                </c:pt>
                <c:pt idx="13">
                  <c:v>11.43</c:v>
                </c:pt>
                <c:pt idx="14">
                  <c:v>11.08</c:v>
                </c:pt>
                <c:pt idx="15">
                  <c:v>11.07</c:v>
                </c:pt>
                <c:pt idx="16">
                  <c:v>10.94</c:v>
                </c:pt>
                <c:pt idx="17">
                  <c:v>11.13</c:v>
                </c:pt>
                <c:pt idx="18">
                  <c:v>11.12</c:v>
                </c:pt>
                <c:pt idx="19">
                  <c:v>10.96</c:v>
                </c:pt>
                <c:pt idx="20">
                  <c:v>11.05</c:v>
                </c:pt>
                <c:pt idx="21">
                  <c:v>11.42</c:v>
                </c:pt>
                <c:pt idx="22">
                  <c:v>11.48</c:v>
                </c:pt>
                <c:pt idx="23">
                  <c:v>11.62</c:v>
                </c:pt>
                <c:pt idx="24">
                  <c:v>11.6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9,220,7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8,952,97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249,43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19220701</c:v>
                </c:pt>
                <c:pt idx="1">
                  <c:v>18992174</c:v>
                </c:pt>
                <c:pt idx="2">
                  <c:v>14028730</c:v>
                </c:pt>
                <c:pt idx="3">
                  <c:v>14370139</c:v>
                </c:pt>
                <c:pt idx="4">
                  <c:v>14460240</c:v>
                </c:pt>
                <c:pt idx="5">
                  <c:v>37556000</c:v>
                </c:pt>
                <c:pt idx="6">
                  <c:v>11586886</c:v>
                </c:pt>
                <c:pt idx="7">
                  <c:v>12575598</c:v>
                </c:pt>
                <c:pt idx="8">
                  <c:v>17005181</c:v>
                </c:pt>
                <c:pt idx="9">
                  <c:v>13623038</c:v>
                </c:pt>
                <c:pt idx="10">
                  <c:v>15624847</c:v>
                </c:pt>
                <c:pt idx="11">
                  <c:v>16034866</c:v>
                </c:pt>
                <c:pt idx="12">
                  <c:v>19246147</c:v>
                </c:pt>
                <c:pt idx="13">
                  <c:v>18952974</c:v>
                </c:pt>
                <c:pt idx="14">
                  <c:v>13400928</c:v>
                </c:pt>
                <c:pt idx="15">
                  <c:v>14547474</c:v>
                </c:pt>
                <c:pt idx="16">
                  <c:v>14889360</c:v>
                </c:pt>
                <c:pt idx="17">
                  <c:v>33512532</c:v>
                </c:pt>
                <c:pt idx="18">
                  <c:v>15432353</c:v>
                </c:pt>
                <c:pt idx="19">
                  <c:v>13365552</c:v>
                </c:pt>
                <c:pt idx="20">
                  <c:v>12966530</c:v>
                </c:pt>
                <c:pt idx="21">
                  <c:v>18815225</c:v>
                </c:pt>
                <c:pt idx="22">
                  <c:v>16402842</c:v>
                </c:pt>
                <c:pt idx="23">
                  <c:v>19048160</c:v>
                </c:pt>
                <c:pt idx="24">
                  <c:v>1924943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0.4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0.1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9.9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20.46</c:v>
                </c:pt>
                <c:pt idx="1">
                  <c:v>20.8</c:v>
                </c:pt>
                <c:pt idx="2">
                  <c:v>20.01</c:v>
                </c:pt>
                <c:pt idx="3">
                  <c:v>20.45</c:v>
                </c:pt>
                <c:pt idx="4">
                  <c:v>19.45</c:v>
                </c:pt>
                <c:pt idx="5">
                  <c:v>18.29</c:v>
                </c:pt>
                <c:pt idx="6">
                  <c:v>20.58</c:v>
                </c:pt>
                <c:pt idx="7">
                  <c:v>19.94</c:v>
                </c:pt>
                <c:pt idx="8">
                  <c:v>18.71</c:v>
                </c:pt>
                <c:pt idx="9">
                  <c:v>20.3</c:v>
                </c:pt>
                <c:pt idx="10">
                  <c:v>19.94</c:v>
                </c:pt>
                <c:pt idx="11">
                  <c:v>19.42</c:v>
                </c:pt>
                <c:pt idx="12">
                  <c:v>19.54</c:v>
                </c:pt>
                <c:pt idx="13">
                  <c:v>20.15</c:v>
                </c:pt>
                <c:pt idx="14">
                  <c:v>19.34</c:v>
                </c:pt>
                <c:pt idx="15">
                  <c:v>19.85</c:v>
                </c:pt>
                <c:pt idx="16">
                  <c:v>19.15</c:v>
                </c:pt>
                <c:pt idx="17">
                  <c:v>18.59</c:v>
                </c:pt>
                <c:pt idx="18">
                  <c:v>19.94</c:v>
                </c:pt>
                <c:pt idx="19">
                  <c:v>19.93</c:v>
                </c:pt>
                <c:pt idx="20">
                  <c:v>20.11</c:v>
                </c:pt>
                <c:pt idx="21">
                  <c:v>18.33</c:v>
                </c:pt>
                <c:pt idx="22">
                  <c:v>20.61</c:v>
                </c:pt>
                <c:pt idx="23">
                  <c:v>19.18</c:v>
                </c:pt>
                <c:pt idx="24">
                  <c:v>19.9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400,51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143,2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651,9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3400511</c:v>
                </c:pt>
                <c:pt idx="1">
                  <c:v>3088242</c:v>
                </c:pt>
                <c:pt idx="2">
                  <c:v>2515106</c:v>
                </c:pt>
                <c:pt idx="3">
                  <c:v>2380332</c:v>
                </c:pt>
                <c:pt idx="4">
                  <c:v>2406698</c:v>
                </c:pt>
                <c:pt idx="5">
                  <c:v>6329040</c:v>
                </c:pt>
                <c:pt idx="6">
                  <c:v>2245517</c:v>
                </c:pt>
                <c:pt idx="7">
                  <c:v>2194954</c:v>
                </c:pt>
                <c:pt idx="8">
                  <c:v>2885586</c:v>
                </c:pt>
                <c:pt idx="9">
                  <c:v>2224614</c:v>
                </c:pt>
                <c:pt idx="10">
                  <c:v>2558119</c:v>
                </c:pt>
                <c:pt idx="11">
                  <c:v>2756739</c:v>
                </c:pt>
                <c:pt idx="12">
                  <c:v>3249868</c:v>
                </c:pt>
                <c:pt idx="13">
                  <c:v>3143269</c:v>
                </c:pt>
                <c:pt idx="14">
                  <c:v>2134263</c:v>
                </c:pt>
                <c:pt idx="15">
                  <c:v>2455801</c:v>
                </c:pt>
                <c:pt idx="16">
                  <c:v>2506912</c:v>
                </c:pt>
                <c:pt idx="17">
                  <c:v>6721150</c:v>
                </c:pt>
                <c:pt idx="18">
                  <c:v>2901557</c:v>
                </c:pt>
                <c:pt idx="19">
                  <c:v>2399330</c:v>
                </c:pt>
                <c:pt idx="20">
                  <c:v>2600763</c:v>
                </c:pt>
                <c:pt idx="21">
                  <c:v>3489127</c:v>
                </c:pt>
                <c:pt idx="22">
                  <c:v>3383009</c:v>
                </c:pt>
                <c:pt idx="23">
                  <c:v>3268679</c:v>
                </c:pt>
                <c:pt idx="24">
                  <c:v>365198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0.9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21.0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20.8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20.98</c:v>
                </c:pt>
                <c:pt idx="1">
                  <c:v>22.11</c:v>
                </c:pt>
                <c:pt idx="2">
                  <c:v>21.68</c:v>
                </c:pt>
                <c:pt idx="3">
                  <c:v>21.88</c:v>
                </c:pt>
                <c:pt idx="4">
                  <c:v>21.39</c:v>
                </c:pt>
                <c:pt idx="5">
                  <c:v>20.52</c:v>
                </c:pt>
                <c:pt idx="6">
                  <c:v>21.44</c:v>
                </c:pt>
                <c:pt idx="7">
                  <c:v>21.61</c:v>
                </c:pt>
                <c:pt idx="8">
                  <c:v>20.67</c:v>
                </c:pt>
                <c:pt idx="9">
                  <c:v>22.04</c:v>
                </c:pt>
                <c:pt idx="10">
                  <c:v>21.6</c:v>
                </c:pt>
                <c:pt idx="11">
                  <c:v>20.94</c:v>
                </c:pt>
                <c:pt idx="12">
                  <c:v>21.09</c:v>
                </c:pt>
                <c:pt idx="13">
                  <c:v>21.05</c:v>
                </c:pt>
                <c:pt idx="14">
                  <c:v>21.55</c:v>
                </c:pt>
                <c:pt idx="15">
                  <c:v>20.95</c:v>
                </c:pt>
                <c:pt idx="16">
                  <c:v>20.83</c:v>
                </c:pt>
                <c:pt idx="17">
                  <c:v>19.53</c:v>
                </c:pt>
                <c:pt idx="18">
                  <c:v>20.92</c:v>
                </c:pt>
                <c:pt idx="19">
                  <c:v>21.12</c:v>
                </c:pt>
                <c:pt idx="20">
                  <c:v>20.63</c:v>
                </c:pt>
                <c:pt idx="21">
                  <c:v>20.36</c:v>
                </c:pt>
                <c:pt idx="22">
                  <c:v>20.88</c:v>
                </c:pt>
                <c:pt idx="23">
                  <c:v>21.21</c:v>
                </c:pt>
                <c:pt idx="24">
                  <c:v>20.8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240,1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557,61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3,532,6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3240173</c:v>
                </c:pt>
                <c:pt idx="1">
                  <c:v>3554341</c:v>
                </c:pt>
                <c:pt idx="2">
                  <c:v>2275578</c:v>
                </c:pt>
                <c:pt idx="3">
                  <c:v>2559751</c:v>
                </c:pt>
                <c:pt idx="4">
                  <c:v>2548521</c:v>
                </c:pt>
                <c:pt idx="5">
                  <c:v>5264692</c:v>
                </c:pt>
                <c:pt idx="6">
                  <c:v>1762551</c:v>
                </c:pt>
                <c:pt idx="7">
                  <c:v>2406590</c:v>
                </c:pt>
                <c:pt idx="8">
                  <c:v>2997143</c:v>
                </c:pt>
                <c:pt idx="9">
                  <c:v>2275396</c:v>
                </c:pt>
                <c:pt idx="10">
                  <c:v>2723994</c:v>
                </c:pt>
                <c:pt idx="11">
                  <c:v>2887046</c:v>
                </c:pt>
                <c:pt idx="12">
                  <c:v>3346059</c:v>
                </c:pt>
                <c:pt idx="13">
                  <c:v>3557611</c:v>
                </c:pt>
                <c:pt idx="14">
                  <c:v>2292085</c:v>
                </c:pt>
                <c:pt idx="15">
                  <c:v>2580731</c:v>
                </c:pt>
                <c:pt idx="16">
                  <c:v>2802108</c:v>
                </c:pt>
                <c:pt idx="17">
                  <c:v>5404175</c:v>
                </c:pt>
                <c:pt idx="18">
                  <c:v>2732052</c:v>
                </c:pt>
                <c:pt idx="19">
                  <c:v>2808740</c:v>
                </c:pt>
                <c:pt idx="20">
                  <c:v>2348559</c:v>
                </c:pt>
                <c:pt idx="21">
                  <c:v>3590743</c:v>
                </c:pt>
                <c:pt idx="22">
                  <c:v>2742261</c:v>
                </c:pt>
                <c:pt idx="23">
                  <c:v>3743111</c:v>
                </c:pt>
                <c:pt idx="24">
                  <c:v>353262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20.5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9.7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9.7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20.58</c:v>
                </c:pt>
                <c:pt idx="1">
                  <c:v>20.43</c:v>
                </c:pt>
                <c:pt idx="2">
                  <c:v>19.98</c:v>
                </c:pt>
                <c:pt idx="3">
                  <c:v>20.22</c:v>
                </c:pt>
                <c:pt idx="4">
                  <c:v>18.87</c:v>
                </c:pt>
                <c:pt idx="5">
                  <c:v>17.65</c:v>
                </c:pt>
                <c:pt idx="6">
                  <c:v>20.28</c:v>
                </c:pt>
                <c:pt idx="7">
                  <c:v>18.86</c:v>
                </c:pt>
                <c:pt idx="8">
                  <c:v>17.95</c:v>
                </c:pt>
                <c:pt idx="9">
                  <c:v>19.98</c:v>
                </c:pt>
                <c:pt idx="10">
                  <c:v>18.73</c:v>
                </c:pt>
                <c:pt idx="11">
                  <c:v>19.09</c:v>
                </c:pt>
                <c:pt idx="12">
                  <c:v>19.1</c:v>
                </c:pt>
                <c:pt idx="13">
                  <c:v>19.7</c:v>
                </c:pt>
                <c:pt idx="14">
                  <c:v>18.57</c:v>
                </c:pt>
                <c:pt idx="15">
                  <c:v>19.02</c:v>
                </c:pt>
                <c:pt idx="16">
                  <c:v>18.86</c:v>
                </c:pt>
                <c:pt idx="17">
                  <c:v>17.75</c:v>
                </c:pt>
                <c:pt idx="18">
                  <c:v>19.48</c:v>
                </c:pt>
                <c:pt idx="19">
                  <c:v>19.58</c:v>
                </c:pt>
                <c:pt idx="20">
                  <c:v>20.31</c:v>
                </c:pt>
                <c:pt idx="21">
                  <c:v>19.69</c:v>
                </c:pt>
                <c:pt idx="22">
                  <c:v>21.1</c:v>
                </c:pt>
                <c:pt idx="23">
                  <c:v>20.14</c:v>
                </c:pt>
                <c:pt idx="24">
                  <c:v>19.7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1,531,63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1,462,9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697,36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21531632</c:v>
                </c:pt>
                <c:pt idx="1">
                  <c:v>21869467</c:v>
                </c:pt>
                <c:pt idx="2">
                  <c:v>21924359</c:v>
                </c:pt>
                <c:pt idx="3">
                  <c:v>24534242</c:v>
                </c:pt>
                <c:pt idx="4">
                  <c:v>23485538</c:v>
                </c:pt>
                <c:pt idx="5">
                  <c:v>22743444</c:v>
                </c:pt>
                <c:pt idx="6">
                  <c:v>23732546</c:v>
                </c:pt>
                <c:pt idx="7">
                  <c:v>23679659</c:v>
                </c:pt>
                <c:pt idx="8">
                  <c:v>27247292</c:v>
                </c:pt>
                <c:pt idx="9">
                  <c:v>24017444</c:v>
                </c:pt>
                <c:pt idx="10">
                  <c:v>23457081</c:v>
                </c:pt>
                <c:pt idx="11">
                  <c:v>21887098</c:v>
                </c:pt>
                <c:pt idx="12">
                  <c:v>21435116</c:v>
                </c:pt>
                <c:pt idx="13">
                  <c:v>21462901</c:v>
                </c:pt>
                <c:pt idx="14">
                  <c:v>23025898</c:v>
                </c:pt>
                <c:pt idx="15">
                  <c:v>24968884</c:v>
                </c:pt>
                <c:pt idx="16">
                  <c:v>23834431</c:v>
                </c:pt>
                <c:pt idx="17">
                  <c:v>22713393</c:v>
                </c:pt>
                <c:pt idx="18">
                  <c:v>6478103</c:v>
                </c:pt>
                <c:pt idx="19">
                  <c:v>3194202</c:v>
                </c:pt>
                <c:pt idx="20">
                  <c:v>3623415</c:v>
                </c:pt>
                <c:pt idx="21">
                  <c:v>3088754</c:v>
                </c:pt>
                <c:pt idx="22">
                  <c:v>2834696</c:v>
                </c:pt>
                <c:pt idx="23">
                  <c:v>2598551</c:v>
                </c:pt>
                <c:pt idx="24">
                  <c:v>2697366</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7.8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7.6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7.7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7.82</c:v>
                </c:pt>
                <c:pt idx="1">
                  <c:v>7.86</c:v>
                </c:pt>
                <c:pt idx="2">
                  <c:v>7.8</c:v>
                </c:pt>
                <c:pt idx="3">
                  <c:v>7.83</c:v>
                </c:pt>
                <c:pt idx="4">
                  <c:v>7.77</c:v>
                </c:pt>
                <c:pt idx="5">
                  <c:v>7.78</c:v>
                </c:pt>
                <c:pt idx="6">
                  <c:v>7.7</c:v>
                </c:pt>
                <c:pt idx="7">
                  <c:v>7.69</c:v>
                </c:pt>
                <c:pt idx="8">
                  <c:v>7.64</c:v>
                </c:pt>
                <c:pt idx="9">
                  <c:v>7.63</c:v>
                </c:pt>
                <c:pt idx="10">
                  <c:v>7.72</c:v>
                </c:pt>
                <c:pt idx="11">
                  <c:v>7.62</c:v>
                </c:pt>
                <c:pt idx="12">
                  <c:v>7.69</c:v>
                </c:pt>
                <c:pt idx="13">
                  <c:v>7.69</c:v>
                </c:pt>
                <c:pt idx="14">
                  <c:v>7.72</c:v>
                </c:pt>
                <c:pt idx="15">
                  <c:v>7.73</c:v>
                </c:pt>
                <c:pt idx="16">
                  <c:v>7.74</c:v>
                </c:pt>
                <c:pt idx="17">
                  <c:v>7.75</c:v>
                </c:pt>
                <c:pt idx="18">
                  <c:v>7.65</c:v>
                </c:pt>
                <c:pt idx="19">
                  <c:v>7.8</c:v>
                </c:pt>
                <c:pt idx="20">
                  <c:v>7.7</c:v>
                </c:pt>
                <c:pt idx="21">
                  <c:v>7.86</c:v>
                </c:pt>
                <c:pt idx="22">
                  <c:v>7.84</c:v>
                </c:pt>
                <c:pt idx="23">
                  <c:v>7.59</c:v>
                </c:pt>
                <c:pt idx="24">
                  <c:v>7.7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754,70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9,429,71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569,29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8754701</c:v>
                </c:pt>
                <c:pt idx="1">
                  <c:v>8813554</c:v>
                </c:pt>
                <c:pt idx="2">
                  <c:v>9045653</c:v>
                </c:pt>
                <c:pt idx="3">
                  <c:v>9241101</c:v>
                </c:pt>
                <c:pt idx="4">
                  <c:v>9056925</c:v>
                </c:pt>
                <c:pt idx="5">
                  <c:v>8452105</c:v>
                </c:pt>
                <c:pt idx="6">
                  <c:v>9845936</c:v>
                </c:pt>
                <c:pt idx="7">
                  <c:v>8821914</c:v>
                </c:pt>
                <c:pt idx="8">
                  <c:v>10111156</c:v>
                </c:pt>
                <c:pt idx="9">
                  <c:v>8703792</c:v>
                </c:pt>
                <c:pt idx="10">
                  <c:v>9712907</c:v>
                </c:pt>
                <c:pt idx="11">
                  <c:v>9487627</c:v>
                </c:pt>
                <c:pt idx="12">
                  <c:v>9250270</c:v>
                </c:pt>
                <c:pt idx="13">
                  <c:v>9429713</c:v>
                </c:pt>
                <c:pt idx="14">
                  <c:v>9642924</c:v>
                </c:pt>
                <c:pt idx="15">
                  <c:v>9929938</c:v>
                </c:pt>
                <c:pt idx="16">
                  <c:v>9531319</c:v>
                </c:pt>
                <c:pt idx="17">
                  <c:v>7677592</c:v>
                </c:pt>
                <c:pt idx="18">
                  <c:v>10411935</c:v>
                </c:pt>
                <c:pt idx="19">
                  <c:v>9439398</c:v>
                </c:pt>
                <c:pt idx="20">
                  <c:v>10214356</c:v>
                </c:pt>
                <c:pt idx="21">
                  <c:v>9458254</c:v>
                </c:pt>
                <c:pt idx="22">
                  <c:v>9553087</c:v>
                </c:pt>
                <c:pt idx="23">
                  <c:v>10171157</c:v>
                </c:pt>
                <c:pt idx="24">
                  <c:v>956929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7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3.2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3.3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3.77</c:v>
                </c:pt>
                <c:pt idx="1">
                  <c:v>13.41</c:v>
                </c:pt>
                <c:pt idx="2">
                  <c:v>13.01</c:v>
                </c:pt>
                <c:pt idx="3">
                  <c:v>13.32</c:v>
                </c:pt>
                <c:pt idx="4">
                  <c:v>13.26</c:v>
                </c:pt>
                <c:pt idx="5">
                  <c:v>13.65</c:v>
                </c:pt>
                <c:pt idx="6">
                  <c:v>12.86</c:v>
                </c:pt>
                <c:pt idx="7">
                  <c:v>13.22</c:v>
                </c:pt>
                <c:pt idx="8">
                  <c:v>13.29</c:v>
                </c:pt>
                <c:pt idx="9">
                  <c:v>13.66</c:v>
                </c:pt>
                <c:pt idx="10">
                  <c:v>13.22</c:v>
                </c:pt>
                <c:pt idx="11">
                  <c:v>13.35</c:v>
                </c:pt>
                <c:pt idx="12">
                  <c:v>13.6</c:v>
                </c:pt>
                <c:pt idx="13">
                  <c:v>13.25</c:v>
                </c:pt>
                <c:pt idx="14">
                  <c:v>12.9</c:v>
                </c:pt>
                <c:pt idx="15">
                  <c:v>13.26</c:v>
                </c:pt>
                <c:pt idx="16">
                  <c:v>13.05</c:v>
                </c:pt>
                <c:pt idx="17">
                  <c:v>13.36</c:v>
                </c:pt>
                <c:pt idx="18">
                  <c:v>12.59</c:v>
                </c:pt>
                <c:pt idx="19">
                  <c:v>12.73</c:v>
                </c:pt>
                <c:pt idx="20">
                  <c:v>12.79</c:v>
                </c:pt>
                <c:pt idx="21">
                  <c:v>13.15</c:v>
                </c:pt>
                <c:pt idx="22">
                  <c:v>12.73</c:v>
                </c:pt>
                <c:pt idx="23">
                  <c:v>13.16</c:v>
                </c:pt>
                <c:pt idx="24">
                  <c:v>13.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3,193,42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3,233,89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84,7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strCache>
            </c:strRef>
          </c:cat>
          <c:val>
            <c:numRef>
              <c:f>Sheet1!$B$2:$B$26</c:f>
              <c:numCache>
                <c:formatCode>General</c:formatCode>
                <c:ptCount val="25"/>
                <c:pt idx="0">
                  <c:v>3193427</c:v>
                </c:pt>
                <c:pt idx="1">
                  <c:v>2999484</c:v>
                </c:pt>
                <c:pt idx="2">
                  <c:v>3652071</c:v>
                </c:pt>
                <c:pt idx="3">
                  <c:v>3632589</c:v>
                </c:pt>
                <c:pt idx="4">
                  <c:v>3265369</c:v>
                </c:pt>
                <c:pt idx="5">
                  <c:v>2915845</c:v>
                </c:pt>
                <c:pt idx="6">
                  <c:v>3152466</c:v>
                </c:pt>
                <c:pt idx="7">
                  <c:v>3200333</c:v>
                </c:pt>
                <c:pt idx="8">
                  <c:v>3266367</c:v>
                </c:pt>
                <c:pt idx="9">
                  <c:v>3518566</c:v>
                </c:pt>
                <c:pt idx="10">
                  <c:v>3266182</c:v>
                </c:pt>
                <c:pt idx="11">
                  <c:v>3256825</c:v>
                </c:pt>
                <c:pt idx="12">
                  <c:v>3329285</c:v>
                </c:pt>
                <c:pt idx="13">
                  <c:v>3233890</c:v>
                </c:pt>
                <c:pt idx="14">
                  <c:v>3869052</c:v>
                </c:pt>
                <c:pt idx="15">
                  <c:v>3313291</c:v>
                </c:pt>
                <c:pt idx="16">
                  <c:v>3284226</c:v>
                </c:pt>
                <c:pt idx="17">
                  <c:v>2991569</c:v>
                </c:pt>
                <c:pt idx="18">
                  <c:v>2979409</c:v>
                </c:pt>
                <c:pt idx="19">
                  <c:v>2956478</c:v>
                </c:pt>
                <c:pt idx="20">
                  <c:v>3210873</c:v>
                </c:pt>
                <c:pt idx="21">
                  <c:v>3467525</c:v>
                </c:pt>
                <c:pt idx="22">
                  <c:v>3551834</c:v>
                </c:pt>
                <c:pt idx="23">
                  <c:v>3631513</c:v>
                </c:pt>
                <c:pt idx="24">
                  <c:v>58475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7.6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8.2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7.8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an-23</c:v>
                </c:pt>
                <c:pt idx="1">
                  <c:v>Feb-23</c:v>
                </c:pt>
                <c:pt idx="2">
                  <c:v>Mar-23</c:v>
                </c:pt>
                <c:pt idx="3">
                  <c:v>Apr-23</c:v>
                </c:pt>
                <c:pt idx="4">
                  <c:v>May-23</c:v>
                </c:pt>
                <c:pt idx="5">
                  <c:v>Jun-23</c:v>
                </c:pt>
                <c:pt idx="6">
                  <c:v>Jul-23</c:v>
                </c:pt>
                <c:pt idx="7">
                  <c:v>Aug-23</c:v>
                </c:pt>
                <c:pt idx="8">
                  <c:v>Sep-23</c:v>
                </c:pt>
                <c:pt idx="9">
                  <c:v>Oct-23</c:v>
                </c:pt>
                <c:pt idx="10">
                  <c:v>Nov-23</c:v>
                </c:pt>
                <c:pt idx="11">
                  <c:v>Dec-23</c:v>
                </c:pt>
                <c:pt idx="12">
                  <c:v>Jan-24</c:v>
                </c:pt>
                <c:pt idx="13">
                  <c:v>Feb-24</c:v>
                </c:pt>
                <c:pt idx="14">
                  <c:v>Mar-24</c:v>
                </c:pt>
                <c:pt idx="15">
                  <c:v>Apr-24</c:v>
                </c:pt>
                <c:pt idx="16">
                  <c:v>May-24</c:v>
                </c:pt>
                <c:pt idx="17">
                  <c:v>Jun-24</c:v>
                </c:pt>
                <c:pt idx="18">
                  <c:v>Jul-24</c:v>
                </c:pt>
                <c:pt idx="19">
                  <c:v>Aug-24</c:v>
                </c:pt>
                <c:pt idx="20">
                  <c:v>Sep-24</c:v>
                </c:pt>
                <c:pt idx="21">
                  <c:v>Oct-24</c:v>
                </c:pt>
                <c:pt idx="22">
                  <c:v>Nov-24</c:v>
                </c:pt>
                <c:pt idx="23">
                  <c:v>Dec-24</c:v>
                </c:pt>
                <c:pt idx="24">
                  <c:v>Jan-25</c:v>
                </c:pt>
              </c:strCache>
            </c:strRef>
          </c:cat>
          <c:val>
            <c:numRef>
              <c:f>Sheet1!$C$2:$C$26</c:f>
              <c:numCache>
                <c:formatCode>General</c:formatCode>
                <c:ptCount val="25"/>
                <c:pt idx="0">
                  <c:v>7.63</c:v>
                </c:pt>
                <c:pt idx="1">
                  <c:v>7.59</c:v>
                </c:pt>
                <c:pt idx="2">
                  <c:v>7.9</c:v>
                </c:pt>
                <c:pt idx="3">
                  <c:v>8.45</c:v>
                </c:pt>
                <c:pt idx="4">
                  <c:v>8.64</c:v>
                </c:pt>
                <c:pt idx="5">
                  <c:v>8.53</c:v>
                </c:pt>
                <c:pt idx="6">
                  <c:v>8.47</c:v>
                </c:pt>
                <c:pt idx="7">
                  <c:v>8.44</c:v>
                </c:pt>
                <c:pt idx="8">
                  <c:v>8.5</c:v>
                </c:pt>
                <c:pt idx="9">
                  <c:v>8.46</c:v>
                </c:pt>
                <c:pt idx="10">
                  <c:v>8.38</c:v>
                </c:pt>
                <c:pt idx="11">
                  <c:v>8.34</c:v>
                </c:pt>
                <c:pt idx="12">
                  <c:v>8.31</c:v>
                </c:pt>
                <c:pt idx="13">
                  <c:v>8.27</c:v>
                </c:pt>
                <c:pt idx="14">
                  <c:v>8.19</c:v>
                </c:pt>
                <c:pt idx="15">
                  <c:v>8.18</c:v>
                </c:pt>
                <c:pt idx="16">
                  <c:v>8.15</c:v>
                </c:pt>
                <c:pt idx="17">
                  <c:v>7.9</c:v>
                </c:pt>
                <c:pt idx="18">
                  <c:v>8.08</c:v>
                </c:pt>
                <c:pt idx="19">
                  <c:v>8.04</c:v>
                </c:pt>
                <c:pt idx="20">
                  <c:v>8.04</c:v>
                </c:pt>
                <c:pt idx="21">
                  <c:v>8.05</c:v>
                </c:pt>
                <c:pt idx="22">
                  <c:v>8.15</c:v>
                </c:pt>
                <c:pt idx="23">
                  <c:v>8.02</c:v>
                </c:pt>
                <c:pt idx="24">
                  <c:v>7.8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61,1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810,89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696,481</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2461187</c:v>
                </c:pt>
                <c:pt idx="1">
                  <c:v>2534335</c:v>
                </c:pt>
                <c:pt idx="2">
                  <c:v>2482213</c:v>
                </c:pt>
                <c:pt idx="3">
                  <c:v>2749566</c:v>
                </c:pt>
                <c:pt idx="4">
                  <c:v>2670306</c:v>
                </c:pt>
                <c:pt idx="5">
                  <c:v>2594121</c:v>
                </c:pt>
                <c:pt idx="6">
                  <c:v>2792036</c:v>
                </c:pt>
                <c:pt idx="7">
                  <c:v>2896985</c:v>
                </c:pt>
                <c:pt idx="8">
                  <c:v>3052466</c:v>
                </c:pt>
                <c:pt idx="9">
                  <c:v>2917681</c:v>
                </c:pt>
                <c:pt idx="10">
                  <c:v>2721954</c:v>
                </c:pt>
                <c:pt idx="11">
                  <c:v>2824701</c:v>
                </c:pt>
                <c:pt idx="12">
                  <c:v>2667069</c:v>
                </c:pt>
                <c:pt idx="13">
                  <c:v>2810897</c:v>
                </c:pt>
                <c:pt idx="14">
                  <c:v>2836654</c:v>
                </c:pt>
                <c:pt idx="15">
                  <c:v>3023072</c:v>
                </c:pt>
                <c:pt idx="16">
                  <c:v>2892574</c:v>
                </c:pt>
                <c:pt idx="17">
                  <c:v>2764174</c:v>
                </c:pt>
                <c:pt idx="18">
                  <c:v>2976672</c:v>
                </c:pt>
                <c:pt idx="19">
                  <c:v>3193438</c:v>
                </c:pt>
                <c:pt idx="20">
                  <c:v>3622547</c:v>
                </c:pt>
                <c:pt idx="21">
                  <c:v>3087904</c:v>
                </c:pt>
                <c:pt idx="22">
                  <c:v>2833786</c:v>
                </c:pt>
                <c:pt idx="23">
                  <c:v>2597431</c:v>
                </c:pt>
                <c:pt idx="24">
                  <c:v>2696481</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7.8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7.7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7.7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7.84</c:v>
                </c:pt>
                <c:pt idx="1">
                  <c:v>7.92</c:v>
                </c:pt>
                <c:pt idx="2">
                  <c:v>7.75</c:v>
                </c:pt>
                <c:pt idx="3">
                  <c:v>7.8</c:v>
                </c:pt>
                <c:pt idx="4">
                  <c:v>7.69</c:v>
                </c:pt>
                <c:pt idx="5">
                  <c:v>7.66</c:v>
                </c:pt>
                <c:pt idx="6">
                  <c:v>7.56</c:v>
                </c:pt>
                <c:pt idx="7">
                  <c:v>7.51</c:v>
                </c:pt>
                <c:pt idx="8">
                  <c:v>7.57</c:v>
                </c:pt>
                <c:pt idx="9">
                  <c:v>7.36</c:v>
                </c:pt>
                <c:pt idx="10">
                  <c:v>7.65</c:v>
                </c:pt>
                <c:pt idx="11">
                  <c:v>7.43</c:v>
                </c:pt>
                <c:pt idx="12">
                  <c:v>7.66</c:v>
                </c:pt>
                <c:pt idx="13">
                  <c:v>7.71</c:v>
                </c:pt>
                <c:pt idx="14">
                  <c:v>7.75</c:v>
                </c:pt>
                <c:pt idx="15">
                  <c:v>7.73</c:v>
                </c:pt>
                <c:pt idx="16">
                  <c:v>7.74</c:v>
                </c:pt>
                <c:pt idx="17">
                  <c:v>7.71</c:v>
                </c:pt>
                <c:pt idx="18">
                  <c:v>7.69</c:v>
                </c:pt>
                <c:pt idx="19">
                  <c:v>7.8</c:v>
                </c:pt>
                <c:pt idx="20">
                  <c:v>7.71</c:v>
                </c:pt>
                <c:pt idx="21">
                  <c:v>7.86</c:v>
                </c:pt>
                <c:pt idx="22">
                  <c:v>7.84</c:v>
                </c:pt>
                <c:pt idx="23">
                  <c:v>7.59</c:v>
                </c:pt>
                <c:pt idx="24">
                  <c:v>7.7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41,888,6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43,818,20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47,825,8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41888610</c:v>
                </c:pt>
                <c:pt idx="1">
                  <c:v>43343896</c:v>
                </c:pt>
                <c:pt idx="2">
                  <c:v>44545506</c:v>
                </c:pt>
                <c:pt idx="3">
                  <c:v>45402321</c:v>
                </c:pt>
                <c:pt idx="4">
                  <c:v>43307544</c:v>
                </c:pt>
                <c:pt idx="5">
                  <c:v>40791867</c:v>
                </c:pt>
                <c:pt idx="6">
                  <c:v>44863783</c:v>
                </c:pt>
                <c:pt idx="7">
                  <c:v>43771387</c:v>
                </c:pt>
                <c:pt idx="8">
                  <c:v>50828448</c:v>
                </c:pt>
                <c:pt idx="9">
                  <c:v>44949442</c:v>
                </c:pt>
                <c:pt idx="10">
                  <c:v>45292259</c:v>
                </c:pt>
                <c:pt idx="11">
                  <c:v>43083616</c:v>
                </c:pt>
                <c:pt idx="12">
                  <c:v>43147376</c:v>
                </c:pt>
                <c:pt idx="13">
                  <c:v>43818205</c:v>
                </c:pt>
                <c:pt idx="14">
                  <c:v>45814286</c:v>
                </c:pt>
                <c:pt idx="15">
                  <c:v>46608239</c:v>
                </c:pt>
                <c:pt idx="16">
                  <c:v>44120663</c:v>
                </c:pt>
                <c:pt idx="17">
                  <c:v>41958211</c:v>
                </c:pt>
                <c:pt idx="18">
                  <c:v>46658129</c:v>
                </c:pt>
                <c:pt idx="19">
                  <c:v>44861858</c:v>
                </c:pt>
                <c:pt idx="20">
                  <c:v>48404545</c:v>
                </c:pt>
                <c:pt idx="21">
                  <c:v>42084826</c:v>
                </c:pt>
                <c:pt idx="22">
                  <c:v>44775393</c:v>
                </c:pt>
                <c:pt idx="23">
                  <c:v>44566156</c:v>
                </c:pt>
                <c:pt idx="24">
                  <c:v>4782584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3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1.9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2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2.34</c:v>
                </c:pt>
                <c:pt idx="1">
                  <c:v>12.14</c:v>
                </c:pt>
                <c:pt idx="2">
                  <c:v>11.76</c:v>
                </c:pt>
                <c:pt idx="3">
                  <c:v>11.6</c:v>
                </c:pt>
                <c:pt idx="4">
                  <c:v>11.62</c:v>
                </c:pt>
                <c:pt idx="5">
                  <c:v>11.82</c:v>
                </c:pt>
                <c:pt idx="6">
                  <c:v>11.54</c:v>
                </c:pt>
                <c:pt idx="7">
                  <c:v>11.56</c:v>
                </c:pt>
                <c:pt idx="8">
                  <c:v>11.22</c:v>
                </c:pt>
                <c:pt idx="9">
                  <c:v>11.86</c:v>
                </c:pt>
                <c:pt idx="10">
                  <c:v>11.7</c:v>
                </c:pt>
                <c:pt idx="11">
                  <c:v>11.84</c:v>
                </c:pt>
                <c:pt idx="12">
                  <c:v>11.96</c:v>
                </c:pt>
                <c:pt idx="13">
                  <c:v>11.95</c:v>
                </c:pt>
                <c:pt idx="14">
                  <c:v>11.63</c:v>
                </c:pt>
                <c:pt idx="15">
                  <c:v>11.47</c:v>
                </c:pt>
                <c:pt idx="16">
                  <c:v>11.5</c:v>
                </c:pt>
                <c:pt idx="17">
                  <c:v>10.88</c:v>
                </c:pt>
                <c:pt idx="18">
                  <c:v>11.29</c:v>
                </c:pt>
                <c:pt idx="19">
                  <c:v>11.31</c:v>
                </c:pt>
                <c:pt idx="20">
                  <c:v>11.32</c:v>
                </c:pt>
                <c:pt idx="21">
                  <c:v>12.15</c:v>
                </c:pt>
                <c:pt idx="22">
                  <c:v>11.99</c:v>
                </c:pt>
                <c:pt idx="23">
                  <c:v>12.17</c:v>
                </c:pt>
                <c:pt idx="24">
                  <c:v>12.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845,4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7,046,93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291,2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6845473</c:v>
                </c:pt>
                <c:pt idx="1">
                  <c:v>7415380</c:v>
                </c:pt>
                <c:pt idx="2">
                  <c:v>7632084</c:v>
                </c:pt>
                <c:pt idx="3">
                  <c:v>8039646</c:v>
                </c:pt>
                <c:pt idx="4">
                  <c:v>7430665</c:v>
                </c:pt>
                <c:pt idx="5">
                  <c:v>6438852</c:v>
                </c:pt>
                <c:pt idx="6">
                  <c:v>7169640</c:v>
                </c:pt>
                <c:pt idx="7">
                  <c:v>7974875</c:v>
                </c:pt>
                <c:pt idx="8">
                  <c:v>10235040</c:v>
                </c:pt>
                <c:pt idx="9">
                  <c:v>8393766</c:v>
                </c:pt>
                <c:pt idx="10">
                  <c:v>7894279</c:v>
                </c:pt>
                <c:pt idx="11">
                  <c:v>7938780</c:v>
                </c:pt>
                <c:pt idx="12">
                  <c:v>6652352</c:v>
                </c:pt>
                <c:pt idx="13">
                  <c:v>7046938</c:v>
                </c:pt>
                <c:pt idx="14">
                  <c:v>7508391</c:v>
                </c:pt>
                <c:pt idx="15">
                  <c:v>8080697</c:v>
                </c:pt>
                <c:pt idx="16">
                  <c:v>7422307</c:v>
                </c:pt>
                <c:pt idx="17">
                  <c:v>7636392</c:v>
                </c:pt>
                <c:pt idx="18">
                  <c:v>8004401</c:v>
                </c:pt>
                <c:pt idx="19">
                  <c:v>8586180</c:v>
                </c:pt>
                <c:pt idx="20">
                  <c:v>9332517</c:v>
                </c:pt>
                <c:pt idx="21">
                  <c:v>7564384</c:v>
                </c:pt>
                <c:pt idx="22">
                  <c:v>7786021</c:v>
                </c:pt>
                <c:pt idx="23">
                  <c:v>8105913</c:v>
                </c:pt>
                <c:pt idx="24">
                  <c:v>829128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6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1.8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5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2.65</c:v>
                </c:pt>
                <c:pt idx="1">
                  <c:v>12.27</c:v>
                </c:pt>
                <c:pt idx="2">
                  <c:v>11.93</c:v>
                </c:pt>
                <c:pt idx="3">
                  <c:v>11.66</c:v>
                </c:pt>
                <c:pt idx="4">
                  <c:v>12.06</c:v>
                </c:pt>
                <c:pt idx="5">
                  <c:v>12.61</c:v>
                </c:pt>
                <c:pt idx="6">
                  <c:v>11.69</c:v>
                </c:pt>
                <c:pt idx="7">
                  <c:v>11.76</c:v>
                </c:pt>
                <c:pt idx="8">
                  <c:v>11.02</c:v>
                </c:pt>
                <c:pt idx="9">
                  <c:v>12.29</c:v>
                </c:pt>
                <c:pt idx="10">
                  <c:v>11.97</c:v>
                </c:pt>
                <c:pt idx="11">
                  <c:v>11.9</c:v>
                </c:pt>
                <c:pt idx="12">
                  <c:v>12.21</c:v>
                </c:pt>
                <c:pt idx="13">
                  <c:v>11.81</c:v>
                </c:pt>
                <c:pt idx="14">
                  <c:v>11.92</c:v>
                </c:pt>
                <c:pt idx="15">
                  <c:v>11.34</c:v>
                </c:pt>
                <c:pt idx="16">
                  <c:v>11.79</c:v>
                </c:pt>
                <c:pt idx="17">
                  <c:v>11.72</c:v>
                </c:pt>
                <c:pt idx="18">
                  <c:v>11.45</c:v>
                </c:pt>
                <c:pt idx="19">
                  <c:v>10.9</c:v>
                </c:pt>
                <c:pt idx="20">
                  <c:v>11.04</c:v>
                </c:pt>
                <c:pt idx="21">
                  <c:v>12.87</c:v>
                </c:pt>
                <c:pt idx="22">
                  <c:v>12.55</c:v>
                </c:pt>
                <c:pt idx="23">
                  <c:v>12.6</c:v>
                </c:pt>
                <c:pt idx="24">
                  <c:v>12.5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714,76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6,354,40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7,032,77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5714769</c:v>
                </c:pt>
                <c:pt idx="1">
                  <c:v>5824060</c:v>
                </c:pt>
                <c:pt idx="2">
                  <c:v>6018650</c:v>
                </c:pt>
                <c:pt idx="3">
                  <c:v>5785343</c:v>
                </c:pt>
                <c:pt idx="4">
                  <c:v>5544928</c:v>
                </c:pt>
                <c:pt idx="5">
                  <c:v>5316656</c:v>
                </c:pt>
                <c:pt idx="6">
                  <c:v>5961406</c:v>
                </c:pt>
                <c:pt idx="7">
                  <c:v>5852701</c:v>
                </c:pt>
                <c:pt idx="8">
                  <c:v>6324178</c:v>
                </c:pt>
                <c:pt idx="9">
                  <c:v>5901178</c:v>
                </c:pt>
                <c:pt idx="10">
                  <c:v>5969612</c:v>
                </c:pt>
                <c:pt idx="11">
                  <c:v>5800138</c:v>
                </c:pt>
                <c:pt idx="12">
                  <c:v>6330139</c:v>
                </c:pt>
                <c:pt idx="13">
                  <c:v>6354408</c:v>
                </c:pt>
                <c:pt idx="14">
                  <c:v>6350781</c:v>
                </c:pt>
                <c:pt idx="15">
                  <c:v>6513206</c:v>
                </c:pt>
                <c:pt idx="16">
                  <c:v>6022092</c:v>
                </c:pt>
                <c:pt idx="17">
                  <c:v>5573283</c:v>
                </c:pt>
                <c:pt idx="18">
                  <c:v>6770270</c:v>
                </c:pt>
                <c:pt idx="19">
                  <c:v>6674716</c:v>
                </c:pt>
                <c:pt idx="20">
                  <c:v>6527588</c:v>
                </c:pt>
                <c:pt idx="21">
                  <c:v>5872210</c:v>
                </c:pt>
                <c:pt idx="22">
                  <c:v>6248625</c:v>
                </c:pt>
                <c:pt idx="23">
                  <c:v>6244820</c:v>
                </c:pt>
                <c:pt idx="24">
                  <c:v>7032775</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1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2.6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87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3.13</c:v>
                </c:pt>
                <c:pt idx="1">
                  <c:v>13.18</c:v>
                </c:pt>
                <c:pt idx="2">
                  <c:v>12.96</c:v>
                </c:pt>
                <c:pt idx="3">
                  <c:v>12.55</c:v>
                </c:pt>
                <c:pt idx="4">
                  <c:v>12.07</c:v>
                </c:pt>
                <c:pt idx="5">
                  <c:v>12.28</c:v>
                </c:pt>
                <c:pt idx="6">
                  <c:v>12.42</c:v>
                </c:pt>
                <c:pt idx="7">
                  <c:v>12.15</c:v>
                </c:pt>
                <c:pt idx="8">
                  <c:v>11.91</c:v>
                </c:pt>
                <c:pt idx="9">
                  <c:v>12.74</c:v>
                </c:pt>
                <c:pt idx="10">
                  <c:v>12.39</c:v>
                </c:pt>
                <c:pt idx="11">
                  <c:v>12.47</c:v>
                </c:pt>
                <c:pt idx="12">
                  <c:v>12.66</c:v>
                </c:pt>
                <c:pt idx="13">
                  <c:v>12.66</c:v>
                </c:pt>
                <c:pt idx="14">
                  <c:v>12.45</c:v>
                </c:pt>
                <c:pt idx="15">
                  <c:v>12.2</c:v>
                </c:pt>
                <c:pt idx="16">
                  <c:v>11.97</c:v>
                </c:pt>
                <c:pt idx="17">
                  <c:v>12.39</c:v>
                </c:pt>
                <c:pt idx="18">
                  <c:v>12.67</c:v>
                </c:pt>
                <c:pt idx="19">
                  <c:v>12.38</c:v>
                </c:pt>
                <c:pt idx="20">
                  <c:v>12.31</c:v>
                </c:pt>
                <c:pt idx="21">
                  <c:v>13.06</c:v>
                </c:pt>
                <c:pt idx="22">
                  <c:v>12.74</c:v>
                </c:pt>
                <c:pt idx="23">
                  <c:v>12.82</c:v>
                </c:pt>
                <c:pt idx="24">
                  <c:v>12.87</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51,446,1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54,857,39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59,056,4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51446179</c:v>
                </c:pt>
                <c:pt idx="1">
                  <c:v>52228659</c:v>
                </c:pt>
                <c:pt idx="2">
                  <c:v>48666670</c:v>
                </c:pt>
                <c:pt idx="3">
                  <c:v>48670092</c:v>
                </c:pt>
                <c:pt idx="4">
                  <c:v>47195727</c:v>
                </c:pt>
                <c:pt idx="5">
                  <c:v>60429378</c:v>
                </c:pt>
                <c:pt idx="6">
                  <c:v>47516818</c:v>
                </c:pt>
                <c:pt idx="7">
                  <c:v>47508336</c:v>
                </c:pt>
                <c:pt idx="8">
                  <c:v>54552774</c:v>
                </c:pt>
                <c:pt idx="9">
                  <c:v>49160934</c:v>
                </c:pt>
                <c:pt idx="10">
                  <c:v>53711842</c:v>
                </c:pt>
                <c:pt idx="11">
                  <c:v>51169337</c:v>
                </c:pt>
                <c:pt idx="12">
                  <c:v>53002736</c:v>
                </c:pt>
                <c:pt idx="13">
                  <c:v>54857396</c:v>
                </c:pt>
                <c:pt idx="14">
                  <c:v>51901471</c:v>
                </c:pt>
                <c:pt idx="15">
                  <c:v>51600430</c:v>
                </c:pt>
                <c:pt idx="16">
                  <c:v>51247159</c:v>
                </c:pt>
                <c:pt idx="17">
                  <c:v>66791072</c:v>
                </c:pt>
                <c:pt idx="18">
                  <c:v>56062944</c:v>
                </c:pt>
                <c:pt idx="19">
                  <c:v>49508898</c:v>
                </c:pt>
                <c:pt idx="20">
                  <c:v>56319368</c:v>
                </c:pt>
                <c:pt idx="21">
                  <c:v>55341918</c:v>
                </c:pt>
                <c:pt idx="22">
                  <c:v>57628069</c:v>
                </c:pt>
                <c:pt idx="23">
                  <c:v>58083813</c:v>
                </c:pt>
                <c:pt idx="24">
                  <c:v>5905646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1.6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1.3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1.0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1.62</c:v>
                </c:pt>
                <c:pt idx="1">
                  <c:v>11.54</c:v>
                </c:pt>
                <c:pt idx="2">
                  <c:v>11.48</c:v>
                </c:pt>
                <c:pt idx="3">
                  <c:v>11.47</c:v>
                </c:pt>
                <c:pt idx="4">
                  <c:v>11.4</c:v>
                </c:pt>
                <c:pt idx="5">
                  <c:v>11.41</c:v>
                </c:pt>
                <c:pt idx="6">
                  <c:v>11.35</c:v>
                </c:pt>
                <c:pt idx="7">
                  <c:v>11.33</c:v>
                </c:pt>
                <c:pt idx="8">
                  <c:v>11.35</c:v>
                </c:pt>
                <c:pt idx="9">
                  <c:v>11.46</c:v>
                </c:pt>
                <c:pt idx="10">
                  <c:v>11.36</c:v>
                </c:pt>
                <c:pt idx="11">
                  <c:v>11.25</c:v>
                </c:pt>
                <c:pt idx="12">
                  <c:v>11.3</c:v>
                </c:pt>
                <c:pt idx="13">
                  <c:v>11.3</c:v>
                </c:pt>
                <c:pt idx="14">
                  <c:v>11.29</c:v>
                </c:pt>
                <c:pt idx="15">
                  <c:v>11.3</c:v>
                </c:pt>
                <c:pt idx="16">
                  <c:v>11.34</c:v>
                </c:pt>
                <c:pt idx="17">
                  <c:v>10.51</c:v>
                </c:pt>
                <c:pt idx="18">
                  <c:v>11.03</c:v>
                </c:pt>
                <c:pt idx="19">
                  <c:v>11.04</c:v>
                </c:pt>
                <c:pt idx="20">
                  <c:v>11.03</c:v>
                </c:pt>
                <c:pt idx="21">
                  <c:v>11.15</c:v>
                </c:pt>
                <c:pt idx="22">
                  <c:v>11.13</c:v>
                </c:pt>
                <c:pt idx="23">
                  <c:v>11.15</c:v>
                </c:pt>
                <c:pt idx="24">
                  <c:v>11.05</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8,467,44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780,81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9,945,1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8467447</c:v>
                </c:pt>
                <c:pt idx="1">
                  <c:v>8766929</c:v>
                </c:pt>
                <c:pt idx="2">
                  <c:v>8059725</c:v>
                </c:pt>
                <c:pt idx="3">
                  <c:v>8002928</c:v>
                </c:pt>
                <c:pt idx="4">
                  <c:v>7483844</c:v>
                </c:pt>
                <c:pt idx="5">
                  <c:v>9963431</c:v>
                </c:pt>
                <c:pt idx="6">
                  <c:v>7717846</c:v>
                </c:pt>
                <c:pt idx="7">
                  <c:v>7357309</c:v>
                </c:pt>
                <c:pt idx="8">
                  <c:v>8548182</c:v>
                </c:pt>
                <c:pt idx="9">
                  <c:v>7823075</c:v>
                </c:pt>
                <c:pt idx="10">
                  <c:v>8506633</c:v>
                </c:pt>
                <c:pt idx="11">
                  <c:v>8322306</c:v>
                </c:pt>
                <c:pt idx="12">
                  <c:v>8307339</c:v>
                </c:pt>
                <c:pt idx="13">
                  <c:v>8780817</c:v>
                </c:pt>
                <c:pt idx="14">
                  <c:v>8079121</c:v>
                </c:pt>
                <c:pt idx="15">
                  <c:v>8324972</c:v>
                </c:pt>
                <c:pt idx="16">
                  <c:v>8554048</c:v>
                </c:pt>
                <c:pt idx="17">
                  <c:v>12265646</c:v>
                </c:pt>
                <c:pt idx="18">
                  <c:v>9604308</c:v>
                </c:pt>
                <c:pt idx="19">
                  <c:v>8218031</c:v>
                </c:pt>
                <c:pt idx="20">
                  <c:v>9239401</c:v>
                </c:pt>
                <c:pt idx="21">
                  <c:v>9189813</c:v>
                </c:pt>
                <c:pt idx="22">
                  <c:v>9725834</c:v>
                </c:pt>
                <c:pt idx="23">
                  <c:v>9989087</c:v>
                </c:pt>
                <c:pt idx="24">
                  <c:v>994515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9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2.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1.9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2.95</c:v>
                </c:pt>
                <c:pt idx="1">
                  <c:v>12.9</c:v>
                </c:pt>
                <c:pt idx="2">
                  <c:v>12.94</c:v>
                </c:pt>
                <c:pt idx="3">
                  <c:v>12.99</c:v>
                </c:pt>
                <c:pt idx="4">
                  <c:v>12.91</c:v>
                </c:pt>
                <c:pt idx="5">
                  <c:v>12.82</c:v>
                </c:pt>
                <c:pt idx="6">
                  <c:v>12.93</c:v>
                </c:pt>
                <c:pt idx="7">
                  <c:v>12.86</c:v>
                </c:pt>
                <c:pt idx="8">
                  <c:v>12.78</c:v>
                </c:pt>
                <c:pt idx="9">
                  <c:v>12.62</c:v>
                </c:pt>
                <c:pt idx="10">
                  <c:v>12.21</c:v>
                </c:pt>
                <c:pt idx="11">
                  <c:v>12.2</c:v>
                </c:pt>
                <c:pt idx="12">
                  <c:v>12.24</c:v>
                </c:pt>
                <c:pt idx="13">
                  <c:v>12.23</c:v>
                </c:pt>
                <c:pt idx="14">
                  <c:v>12.28</c:v>
                </c:pt>
                <c:pt idx="15">
                  <c:v>12.26</c:v>
                </c:pt>
                <c:pt idx="16">
                  <c:v>12.19</c:v>
                </c:pt>
                <c:pt idx="17">
                  <c:v>11.59</c:v>
                </c:pt>
                <c:pt idx="18">
                  <c:v>12.08</c:v>
                </c:pt>
                <c:pt idx="19">
                  <c:v>12.17</c:v>
                </c:pt>
                <c:pt idx="20">
                  <c:v>12.18</c:v>
                </c:pt>
                <c:pt idx="21">
                  <c:v>12.1</c:v>
                </c:pt>
                <c:pt idx="22">
                  <c:v>12.0</c:v>
                </c:pt>
                <c:pt idx="23">
                  <c:v>12.1</c:v>
                </c:pt>
                <c:pt idx="24">
                  <c:v>11.9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6,967,28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8,010,57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587,18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6967285</c:v>
                </c:pt>
                <c:pt idx="1">
                  <c:v>6885054</c:v>
                </c:pt>
                <c:pt idx="2">
                  <c:v>6407944</c:v>
                </c:pt>
                <c:pt idx="3">
                  <c:v>6274720</c:v>
                </c:pt>
                <c:pt idx="4">
                  <c:v>6195399</c:v>
                </c:pt>
                <c:pt idx="5">
                  <c:v>7790772</c:v>
                </c:pt>
                <c:pt idx="6">
                  <c:v>6149066</c:v>
                </c:pt>
                <c:pt idx="7">
                  <c:v>6199267</c:v>
                </c:pt>
                <c:pt idx="8">
                  <c:v>7148442</c:v>
                </c:pt>
                <c:pt idx="9">
                  <c:v>6572565</c:v>
                </c:pt>
                <c:pt idx="10">
                  <c:v>7233365</c:v>
                </c:pt>
                <c:pt idx="11">
                  <c:v>6980951</c:v>
                </c:pt>
                <c:pt idx="12">
                  <c:v>7655621</c:v>
                </c:pt>
                <c:pt idx="13">
                  <c:v>8010572</c:v>
                </c:pt>
                <c:pt idx="14">
                  <c:v>7179145</c:v>
                </c:pt>
                <c:pt idx="15">
                  <c:v>7162592</c:v>
                </c:pt>
                <c:pt idx="16">
                  <c:v>7323873</c:v>
                </c:pt>
                <c:pt idx="17">
                  <c:v>8995156</c:v>
                </c:pt>
                <c:pt idx="18">
                  <c:v>7419544</c:v>
                </c:pt>
                <c:pt idx="19">
                  <c:v>6563908</c:v>
                </c:pt>
                <c:pt idx="20">
                  <c:v>8316407</c:v>
                </c:pt>
                <c:pt idx="21">
                  <c:v>8305226</c:v>
                </c:pt>
                <c:pt idx="22">
                  <c:v>8457887</c:v>
                </c:pt>
                <c:pt idx="23">
                  <c:v>8692035</c:v>
                </c:pt>
                <c:pt idx="24">
                  <c:v>858718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1.7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1.5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1.6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1.73</c:v>
                </c:pt>
                <c:pt idx="1">
                  <c:v>11.81</c:v>
                </c:pt>
                <c:pt idx="2">
                  <c:v>11.6</c:v>
                </c:pt>
                <c:pt idx="3">
                  <c:v>11.78</c:v>
                </c:pt>
                <c:pt idx="4">
                  <c:v>11.53</c:v>
                </c:pt>
                <c:pt idx="5">
                  <c:v>11.58</c:v>
                </c:pt>
                <c:pt idx="6">
                  <c:v>11.32</c:v>
                </c:pt>
                <c:pt idx="7">
                  <c:v>11.53</c:v>
                </c:pt>
                <c:pt idx="8">
                  <c:v>11.49</c:v>
                </c:pt>
                <c:pt idx="9">
                  <c:v>11.72</c:v>
                </c:pt>
                <c:pt idx="10">
                  <c:v>11.61</c:v>
                </c:pt>
                <c:pt idx="11">
                  <c:v>11.48</c:v>
                </c:pt>
                <c:pt idx="12">
                  <c:v>11.39</c:v>
                </c:pt>
                <c:pt idx="13">
                  <c:v>11.59</c:v>
                </c:pt>
                <c:pt idx="14">
                  <c:v>11.53</c:v>
                </c:pt>
                <c:pt idx="15">
                  <c:v>11.91</c:v>
                </c:pt>
                <c:pt idx="16">
                  <c:v>11.68</c:v>
                </c:pt>
                <c:pt idx="17">
                  <c:v>11.69</c:v>
                </c:pt>
                <c:pt idx="18">
                  <c:v>11.92</c:v>
                </c:pt>
                <c:pt idx="19">
                  <c:v>11.44</c:v>
                </c:pt>
                <c:pt idx="20">
                  <c:v>11.82</c:v>
                </c:pt>
                <c:pt idx="21">
                  <c:v>11.96</c:v>
                </c:pt>
                <c:pt idx="22">
                  <c:v>11.95</c:v>
                </c:pt>
                <c:pt idx="23">
                  <c:v>11.72</c:v>
                </c:pt>
                <c:pt idx="24">
                  <c:v>11.6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2,654,3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45,789,14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68,353,5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132654309</c:v>
                </c:pt>
                <c:pt idx="1">
                  <c:v>126289528</c:v>
                </c:pt>
                <c:pt idx="2">
                  <c:v>88204456</c:v>
                </c:pt>
                <c:pt idx="3">
                  <c:v>53219789</c:v>
                </c:pt>
                <c:pt idx="4">
                  <c:v>36913556</c:v>
                </c:pt>
                <c:pt idx="5">
                  <c:v>35789558</c:v>
                </c:pt>
                <c:pt idx="6">
                  <c:v>34932427</c:v>
                </c:pt>
                <c:pt idx="7">
                  <c:v>36903106</c:v>
                </c:pt>
                <c:pt idx="8">
                  <c:v>50513803</c:v>
                </c:pt>
                <c:pt idx="9">
                  <c:v>70858786</c:v>
                </c:pt>
                <c:pt idx="10">
                  <c:v>97141554</c:v>
                </c:pt>
                <c:pt idx="11">
                  <c:v>114157263</c:v>
                </c:pt>
                <c:pt idx="12">
                  <c:v>139723910</c:v>
                </c:pt>
                <c:pt idx="13">
                  <c:v>145789145</c:v>
                </c:pt>
                <c:pt idx="14">
                  <c:v>82175141</c:v>
                </c:pt>
                <c:pt idx="15">
                  <c:v>52007627</c:v>
                </c:pt>
                <c:pt idx="16">
                  <c:v>41454729</c:v>
                </c:pt>
                <c:pt idx="17">
                  <c:v>57415100</c:v>
                </c:pt>
                <c:pt idx="18">
                  <c:v>45025086</c:v>
                </c:pt>
                <c:pt idx="19">
                  <c:v>40559443</c:v>
                </c:pt>
                <c:pt idx="20">
                  <c:v>57977206</c:v>
                </c:pt>
                <c:pt idx="21">
                  <c:v>86658208</c:v>
                </c:pt>
                <c:pt idx="22">
                  <c:v>123557770</c:v>
                </c:pt>
                <c:pt idx="23">
                  <c:v>158461128</c:v>
                </c:pt>
                <c:pt idx="24">
                  <c:v>16835354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3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2.6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8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2.34</c:v>
                </c:pt>
                <c:pt idx="1">
                  <c:v>12.45</c:v>
                </c:pt>
                <c:pt idx="2">
                  <c:v>12.26</c:v>
                </c:pt>
                <c:pt idx="3">
                  <c:v>11.69</c:v>
                </c:pt>
                <c:pt idx="4">
                  <c:v>11.45</c:v>
                </c:pt>
                <c:pt idx="5">
                  <c:v>11.75</c:v>
                </c:pt>
                <c:pt idx="6">
                  <c:v>11.28</c:v>
                </c:pt>
                <c:pt idx="7">
                  <c:v>11.54</c:v>
                </c:pt>
                <c:pt idx="8">
                  <c:v>11.58</c:v>
                </c:pt>
                <c:pt idx="9">
                  <c:v>11.96</c:v>
                </c:pt>
                <c:pt idx="10">
                  <c:v>12.1</c:v>
                </c:pt>
                <c:pt idx="11">
                  <c:v>12.33</c:v>
                </c:pt>
                <c:pt idx="12">
                  <c:v>12.41</c:v>
                </c:pt>
                <c:pt idx="13">
                  <c:v>12.63</c:v>
                </c:pt>
                <c:pt idx="14">
                  <c:v>12.23</c:v>
                </c:pt>
                <c:pt idx="15">
                  <c:v>11.8</c:v>
                </c:pt>
                <c:pt idx="16">
                  <c:v>11.74</c:v>
                </c:pt>
                <c:pt idx="17">
                  <c:v>11.78</c:v>
                </c:pt>
                <c:pt idx="18">
                  <c:v>11.59</c:v>
                </c:pt>
                <c:pt idx="19">
                  <c:v>11.69</c:v>
                </c:pt>
                <c:pt idx="20">
                  <c:v>11.62</c:v>
                </c:pt>
                <c:pt idx="21">
                  <c:v>12.38</c:v>
                </c:pt>
                <c:pt idx="22">
                  <c:v>12.59</c:v>
                </c:pt>
                <c:pt idx="23">
                  <c:v>12.77</c:v>
                </c:pt>
                <c:pt idx="24">
                  <c:v>12.86</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205,68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5,138,04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9,653,87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24205687</c:v>
                </c:pt>
                <c:pt idx="1">
                  <c:v>22945750</c:v>
                </c:pt>
                <c:pt idx="2">
                  <c:v>16498186</c:v>
                </c:pt>
                <c:pt idx="3">
                  <c:v>10229086</c:v>
                </c:pt>
                <c:pt idx="4">
                  <c:v>7046691</c:v>
                </c:pt>
                <c:pt idx="5">
                  <c:v>7189590</c:v>
                </c:pt>
                <c:pt idx="6">
                  <c:v>6755166</c:v>
                </c:pt>
                <c:pt idx="7">
                  <c:v>6961755</c:v>
                </c:pt>
                <c:pt idx="8">
                  <c:v>9432660</c:v>
                </c:pt>
                <c:pt idx="9">
                  <c:v>13259342</c:v>
                </c:pt>
                <c:pt idx="10">
                  <c:v>17094087</c:v>
                </c:pt>
                <c:pt idx="11">
                  <c:v>19926040</c:v>
                </c:pt>
                <c:pt idx="12">
                  <c:v>24002999</c:v>
                </c:pt>
                <c:pt idx="13">
                  <c:v>25138040</c:v>
                </c:pt>
                <c:pt idx="14">
                  <c:v>14432962</c:v>
                </c:pt>
                <c:pt idx="15">
                  <c:v>9308244</c:v>
                </c:pt>
                <c:pt idx="16">
                  <c:v>7754708</c:v>
                </c:pt>
                <c:pt idx="17">
                  <c:v>11778112</c:v>
                </c:pt>
                <c:pt idx="18">
                  <c:v>8633035</c:v>
                </c:pt>
                <c:pt idx="19">
                  <c:v>7601996</c:v>
                </c:pt>
                <c:pt idx="20">
                  <c:v>10927165</c:v>
                </c:pt>
                <c:pt idx="21">
                  <c:v>15927250</c:v>
                </c:pt>
                <c:pt idx="22">
                  <c:v>21884589</c:v>
                </c:pt>
                <c:pt idx="23">
                  <c:v>28323427</c:v>
                </c:pt>
                <c:pt idx="24">
                  <c:v>2965387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3.4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3.48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3.9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3.4</c:v>
                </c:pt>
                <c:pt idx="1">
                  <c:v>13.41</c:v>
                </c:pt>
                <c:pt idx="2">
                  <c:v>13.41</c:v>
                </c:pt>
                <c:pt idx="3">
                  <c:v>13.0</c:v>
                </c:pt>
                <c:pt idx="4">
                  <c:v>12.44</c:v>
                </c:pt>
                <c:pt idx="5">
                  <c:v>12.76</c:v>
                </c:pt>
                <c:pt idx="6">
                  <c:v>12.42</c:v>
                </c:pt>
                <c:pt idx="7">
                  <c:v>12.6</c:v>
                </c:pt>
                <c:pt idx="8">
                  <c:v>12.46</c:v>
                </c:pt>
                <c:pt idx="9">
                  <c:v>12.84</c:v>
                </c:pt>
                <c:pt idx="10">
                  <c:v>13.02</c:v>
                </c:pt>
                <c:pt idx="11">
                  <c:v>13.14</c:v>
                </c:pt>
                <c:pt idx="12">
                  <c:v>13.49</c:v>
                </c:pt>
                <c:pt idx="13">
                  <c:v>13.48</c:v>
                </c:pt>
                <c:pt idx="14">
                  <c:v>13.06</c:v>
                </c:pt>
                <c:pt idx="15">
                  <c:v>12.83</c:v>
                </c:pt>
                <c:pt idx="16">
                  <c:v>12.66</c:v>
                </c:pt>
                <c:pt idx="17">
                  <c:v>12.51</c:v>
                </c:pt>
                <c:pt idx="18">
                  <c:v>12.51</c:v>
                </c:pt>
                <c:pt idx="19">
                  <c:v>12.55</c:v>
                </c:pt>
                <c:pt idx="20">
                  <c:v>12.66</c:v>
                </c:pt>
                <c:pt idx="21">
                  <c:v>13.36</c:v>
                </c:pt>
                <c:pt idx="22">
                  <c:v>13.67</c:v>
                </c:pt>
                <c:pt idx="23">
                  <c:v>13.77</c:v>
                </c:pt>
                <c:pt idx="24">
                  <c:v>13.99</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690,36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085,285</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3,076,7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10690368</c:v>
                </c:pt>
                <c:pt idx="1">
                  <c:v>11518874</c:v>
                </c:pt>
                <c:pt idx="2">
                  <c:v>12204567</c:v>
                </c:pt>
                <c:pt idx="3">
                  <c:v>12337464</c:v>
                </c:pt>
                <c:pt idx="4">
                  <c:v>11744266</c:v>
                </c:pt>
                <c:pt idx="5">
                  <c:v>10866172</c:v>
                </c:pt>
                <c:pt idx="6">
                  <c:v>11744265</c:v>
                </c:pt>
                <c:pt idx="7">
                  <c:v>12861710</c:v>
                </c:pt>
                <c:pt idx="8">
                  <c:v>16303287</c:v>
                </c:pt>
                <c:pt idx="9">
                  <c:v>11701294</c:v>
                </c:pt>
                <c:pt idx="10">
                  <c:v>12660686</c:v>
                </c:pt>
                <c:pt idx="11">
                  <c:v>11438886</c:v>
                </c:pt>
                <c:pt idx="12">
                  <c:v>12102989</c:v>
                </c:pt>
                <c:pt idx="13">
                  <c:v>12085285</c:v>
                </c:pt>
                <c:pt idx="14">
                  <c:v>13142981</c:v>
                </c:pt>
                <c:pt idx="15">
                  <c:v>13413526</c:v>
                </c:pt>
                <c:pt idx="16">
                  <c:v>13506722</c:v>
                </c:pt>
                <c:pt idx="17">
                  <c:v>10691654</c:v>
                </c:pt>
                <c:pt idx="18">
                  <c:v>12276363</c:v>
                </c:pt>
                <c:pt idx="19">
                  <c:v>13828090</c:v>
                </c:pt>
                <c:pt idx="20">
                  <c:v>14026561</c:v>
                </c:pt>
                <c:pt idx="21">
                  <c:v>10263240</c:v>
                </c:pt>
                <c:pt idx="22">
                  <c:v>12118950</c:v>
                </c:pt>
                <c:pt idx="23">
                  <c:v>10590456</c:v>
                </c:pt>
                <c:pt idx="24">
                  <c:v>130767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1.1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0.4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0.5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1.11</c:v>
                </c:pt>
                <c:pt idx="1">
                  <c:v>10.76</c:v>
                </c:pt>
                <c:pt idx="2">
                  <c:v>10.22</c:v>
                </c:pt>
                <c:pt idx="3">
                  <c:v>10.24</c:v>
                </c:pt>
                <c:pt idx="4">
                  <c:v>10.28</c:v>
                </c:pt>
                <c:pt idx="5">
                  <c:v>10.6</c:v>
                </c:pt>
                <c:pt idx="6">
                  <c:v>9.95</c:v>
                </c:pt>
                <c:pt idx="7">
                  <c:v>10.28</c:v>
                </c:pt>
                <c:pt idx="8">
                  <c:v>9.88</c:v>
                </c:pt>
                <c:pt idx="9">
                  <c:v>10.55</c:v>
                </c:pt>
                <c:pt idx="10">
                  <c:v>10.24</c:v>
                </c:pt>
                <c:pt idx="11">
                  <c:v>10.02</c:v>
                </c:pt>
                <c:pt idx="12">
                  <c:v>10.14</c:v>
                </c:pt>
                <c:pt idx="13">
                  <c:v>10.42</c:v>
                </c:pt>
                <c:pt idx="14">
                  <c:v>10.06</c:v>
                </c:pt>
                <c:pt idx="15">
                  <c:v>9.96</c:v>
                </c:pt>
                <c:pt idx="16">
                  <c:v>10.41</c:v>
                </c:pt>
                <c:pt idx="17">
                  <c:v>10.35</c:v>
                </c:pt>
                <c:pt idx="18">
                  <c:v>9.98</c:v>
                </c:pt>
                <c:pt idx="19">
                  <c:v>9.78</c:v>
                </c:pt>
                <c:pt idx="20">
                  <c:v>10.11</c:v>
                </c:pt>
                <c:pt idx="21">
                  <c:v>10.97</c:v>
                </c:pt>
                <c:pt idx="22">
                  <c:v>10.66</c:v>
                </c:pt>
                <c:pt idx="23">
                  <c:v>10.59</c:v>
                </c:pt>
                <c:pt idx="24">
                  <c:v>10.5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5,429,78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9,093,35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1,899,3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15429780</c:v>
                </c:pt>
                <c:pt idx="1">
                  <c:v>15077699</c:v>
                </c:pt>
                <c:pt idx="2">
                  <c:v>9529296</c:v>
                </c:pt>
                <c:pt idx="3">
                  <c:v>5277411</c:v>
                </c:pt>
                <c:pt idx="4">
                  <c:v>3521444</c:v>
                </c:pt>
                <c:pt idx="5">
                  <c:v>3296408</c:v>
                </c:pt>
                <c:pt idx="6">
                  <c:v>3350311</c:v>
                </c:pt>
                <c:pt idx="7">
                  <c:v>3638766</c:v>
                </c:pt>
                <c:pt idx="8">
                  <c:v>5045444</c:v>
                </c:pt>
                <c:pt idx="9">
                  <c:v>7757503</c:v>
                </c:pt>
                <c:pt idx="10">
                  <c:v>11188091</c:v>
                </c:pt>
                <c:pt idx="11">
                  <c:v>13130557</c:v>
                </c:pt>
                <c:pt idx="12">
                  <c:v>17469180</c:v>
                </c:pt>
                <c:pt idx="13">
                  <c:v>19093354</c:v>
                </c:pt>
                <c:pt idx="14">
                  <c:v>9510659</c:v>
                </c:pt>
                <c:pt idx="15">
                  <c:v>5363458</c:v>
                </c:pt>
                <c:pt idx="16">
                  <c:v>4237720</c:v>
                </c:pt>
                <c:pt idx="17">
                  <c:v>3944283</c:v>
                </c:pt>
                <c:pt idx="18">
                  <c:v>4109369</c:v>
                </c:pt>
                <c:pt idx="19">
                  <c:v>4061851</c:v>
                </c:pt>
                <c:pt idx="20">
                  <c:v>6086157</c:v>
                </c:pt>
                <c:pt idx="21">
                  <c:v>10216093</c:v>
                </c:pt>
                <c:pt idx="22">
                  <c:v>14579716</c:v>
                </c:pt>
                <c:pt idx="23">
                  <c:v>19672833</c:v>
                </c:pt>
                <c:pt idx="24">
                  <c:v>21899304</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1.7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2.1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5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1.76</c:v>
                </c:pt>
                <c:pt idx="1">
                  <c:v>12.06</c:v>
                </c:pt>
                <c:pt idx="2">
                  <c:v>11.59</c:v>
                </c:pt>
                <c:pt idx="3">
                  <c:v>10.98</c:v>
                </c:pt>
                <c:pt idx="4">
                  <c:v>10.83</c:v>
                </c:pt>
                <c:pt idx="5">
                  <c:v>10.96</c:v>
                </c:pt>
                <c:pt idx="6">
                  <c:v>10.67</c:v>
                </c:pt>
                <c:pt idx="7">
                  <c:v>10.77</c:v>
                </c:pt>
                <c:pt idx="8">
                  <c:v>10.81</c:v>
                </c:pt>
                <c:pt idx="9">
                  <c:v>11.34</c:v>
                </c:pt>
                <c:pt idx="10">
                  <c:v>11.28</c:v>
                </c:pt>
                <c:pt idx="11">
                  <c:v>11.56</c:v>
                </c:pt>
                <c:pt idx="12">
                  <c:v>11.95</c:v>
                </c:pt>
                <c:pt idx="13">
                  <c:v>12.19</c:v>
                </c:pt>
                <c:pt idx="14">
                  <c:v>11.48</c:v>
                </c:pt>
                <c:pt idx="15">
                  <c:v>10.93</c:v>
                </c:pt>
                <c:pt idx="16">
                  <c:v>10.9</c:v>
                </c:pt>
                <c:pt idx="17">
                  <c:v>11.11</c:v>
                </c:pt>
                <c:pt idx="18">
                  <c:v>10.78</c:v>
                </c:pt>
                <c:pt idx="19">
                  <c:v>10.66</c:v>
                </c:pt>
                <c:pt idx="20">
                  <c:v>11.05</c:v>
                </c:pt>
                <c:pt idx="21">
                  <c:v>11.88</c:v>
                </c:pt>
                <c:pt idx="22">
                  <c:v>12.38</c:v>
                </c:pt>
                <c:pt idx="23">
                  <c:v>12.57</c:v>
                </c:pt>
                <c:pt idx="24">
                  <c:v>12.54</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6.0</c:v>
                </c:pt>
                <c:pt idx="2">
                  <c:v>92.0</c:v>
                </c:pt>
                <c:pt idx="3">
                  <c:v>12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8.0</c:v>
                </c:pt>
                <c:pt idx="2">
                  <c:v>96.0</c:v>
                </c:pt>
                <c:pt idx="3">
                  <c:v>9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ntremon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7.0</c:v>
                </c:pt>
                <c:pt idx="2">
                  <c:v>97.0</c:v>
                </c:pt>
                <c:pt idx="3">
                  <c:v>3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2.0</c:v>
                </c:pt>
                <c:pt idx="2">
                  <c:v>92.0</c:v>
                </c:pt>
                <c:pt idx="3">
                  <c:v>15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4.0</c:v>
                </c:pt>
                <c:pt idx="2">
                  <c:v>106.0</c:v>
                </c:pt>
                <c:pt idx="3">
                  <c:v>8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3.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278796335144947</c:v>
                </c:pt>
                <c:pt idx="2">
                  <c:v>1.127811332168958</c:v>
                </c:pt>
                <c:pt idx="3">
                  <c:v>1.118258901128923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2.0</c:v>
                </c:pt>
                <c:pt idx="2">
                  <c:v>113.0</c:v>
                </c:pt>
                <c:pt idx="3">
                  <c:v>10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6.0</c:v>
                </c:pt>
                <c:pt idx="2">
                  <c:v>116.0</c:v>
                </c:pt>
                <c:pt idx="3">
                  <c:v>11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ntremon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4.0</c:v>
                </c:pt>
                <c:pt idx="2">
                  <c:v>117.0</c:v>
                </c:pt>
                <c:pt idx="3">
                  <c:v>11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5.0</c:v>
                </c:pt>
                <c:pt idx="2">
                  <c:v>115.0</c:v>
                </c:pt>
                <c:pt idx="3">
                  <c:v>11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3.0</c:v>
                </c:pt>
                <c:pt idx="2">
                  <c:v>113.0</c:v>
                </c:pt>
                <c:pt idx="3">
                  <c:v>10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3.0</c:v>
                </c:pt>
                <c:pt idx="2">
                  <c:v>93.0</c:v>
                </c:pt>
                <c:pt idx="3">
                  <c:v>13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8.0</c:v>
                </c:pt>
                <c:pt idx="2">
                  <c:v>95.0</c:v>
                </c:pt>
                <c:pt idx="3">
                  <c:v>8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uria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2.0</c:v>
                </c:pt>
                <c:pt idx="2">
                  <c:v>90.0</c:v>
                </c:pt>
                <c:pt idx="3">
                  <c:v>14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5.0</c:v>
                </c:pt>
                <c:pt idx="2">
                  <c:v>96.0</c:v>
                </c:pt>
                <c:pt idx="3">
                  <c:v>17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8.0</c:v>
                </c:pt>
                <c:pt idx="2">
                  <c:v>108.0</c:v>
                </c:pt>
                <c:pt idx="3">
                  <c:v>7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14.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511807957274387</c:v>
                </c:pt>
                <c:pt idx="2">
                  <c:v>1.150049605474219</c:v>
                </c:pt>
                <c:pt idx="3">
                  <c:v>1.144829440617147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5.0</c:v>
                </c:pt>
                <c:pt idx="2">
                  <c:v>115.0</c:v>
                </c:pt>
                <c:pt idx="3">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8.0</c:v>
                </c:pt>
                <c:pt idx="2">
                  <c:v>118.0</c:v>
                </c:pt>
                <c:pt idx="3">
                  <c:v>11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uria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6.0</c:v>
                </c:pt>
                <c:pt idx="2">
                  <c:v>117.0</c:v>
                </c:pt>
                <c:pt idx="3">
                  <c:v>10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6.0</c:v>
                </c:pt>
                <c:pt idx="2">
                  <c:v>115.0</c:v>
                </c:pt>
                <c:pt idx="3">
                  <c:v>12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7.0</c:v>
                </c:pt>
                <c:pt idx="2">
                  <c:v>116.0</c:v>
                </c:pt>
                <c:pt idx="3">
                  <c:v>11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5.0</c:v>
                </c:pt>
                <c:pt idx="2">
                  <c:v>86.0</c:v>
                </c:pt>
                <c:pt idx="3">
                  <c:v>8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0.0</c:v>
                </c:pt>
                <c:pt idx="2">
                  <c:v>98.0</c:v>
                </c:pt>
                <c:pt idx="3">
                  <c:v>10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ntremon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9.0</c:v>
                </c:pt>
                <c:pt idx="2">
                  <c:v>101.0</c:v>
                </c:pt>
                <c:pt idx="3">
                  <c:v>9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89.0</c:v>
                </c:pt>
                <c:pt idx="2">
                  <c:v>90.0</c:v>
                </c:pt>
                <c:pt idx="3">
                  <c:v>89.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6.0</c:v>
                </c:pt>
                <c:pt idx="2">
                  <c:v>109.0</c:v>
                </c:pt>
                <c:pt idx="3">
                  <c:v>10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233288103124877</c:v>
                </c:pt>
                <c:pt idx="2">
                  <c:v>1.1271500977770683</c:v>
                </c:pt>
                <c:pt idx="3">
                  <c:v>1.140848864588737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2.0</c:v>
                </c:pt>
                <c:pt idx="2">
                  <c:v>113.0</c:v>
                </c:pt>
                <c:pt idx="3">
                  <c:v>11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6.0</c:v>
                </c:pt>
                <c:pt idx="2">
                  <c:v>116.0</c:v>
                </c:pt>
                <c:pt idx="3">
                  <c:v>11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ntremon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6.0</c:v>
                </c:pt>
                <c:pt idx="2">
                  <c:v>120.0</c:v>
                </c:pt>
                <c:pt idx="3">
                  <c:v>11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8.0</c:v>
                </c:pt>
                <c:pt idx="2">
                  <c:v>118.0</c:v>
                </c:pt>
                <c:pt idx="3">
                  <c:v>12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2.0</c:v>
                </c:pt>
                <c:pt idx="2">
                  <c:v>112.0</c:v>
                </c:pt>
                <c:pt idx="3">
                  <c:v>11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8.0</c:v>
                </c:pt>
                <c:pt idx="2">
                  <c:v>94.0</c:v>
                </c:pt>
                <c:pt idx="3">
                  <c:v>9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9.0</c:v>
                </c:pt>
                <c:pt idx="2">
                  <c:v>94.0</c:v>
                </c:pt>
                <c:pt idx="3">
                  <c:v>9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uria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5.0</c:v>
                </c:pt>
                <c:pt idx="2">
                  <c:v>87.0</c:v>
                </c:pt>
                <c:pt idx="3">
                  <c:v>7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5.0</c:v>
                </c:pt>
                <c:pt idx="2">
                  <c:v>96.0</c:v>
                </c:pt>
                <c:pt idx="3">
                  <c:v>92.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6.0</c:v>
                </c:pt>
                <c:pt idx="2">
                  <c:v>110.0</c:v>
                </c:pt>
                <c:pt idx="3">
                  <c:v>1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166087729218839</c:v>
                </c:pt>
                <c:pt idx="2">
                  <c:v>1.1225765409160675</c:v>
                </c:pt>
                <c:pt idx="3">
                  <c:v>1.13710719767347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2.0</c:v>
                </c:pt>
                <c:pt idx="2">
                  <c:v>113.0</c:v>
                </c:pt>
                <c:pt idx="3">
                  <c:v>11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6.0</c:v>
                </c:pt>
                <c:pt idx="2">
                  <c:v>116.0</c:v>
                </c:pt>
                <c:pt idx="3">
                  <c:v>11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uria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3.0</c:v>
                </c:pt>
                <c:pt idx="2">
                  <c:v>113.0</c:v>
                </c:pt>
                <c:pt idx="3">
                  <c:v>113.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6.0</c:v>
                </c:pt>
                <c:pt idx="2">
                  <c:v>115.0</c:v>
                </c:pt>
                <c:pt idx="3">
                  <c:v>11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1.0</c:v>
                </c:pt>
                <c:pt idx="2">
                  <c:v>113.0</c:v>
                </c:pt>
                <c:pt idx="3">
                  <c:v>11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0.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5.0</c:v>
                </c:pt>
                <c:pt idx="2">
                  <c:v>94.0</c:v>
                </c:pt>
                <c:pt idx="3">
                  <c:v>9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0.0</c:v>
                </c:pt>
                <c:pt idx="2">
                  <c:v>95.0</c:v>
                </c:pt>
                <c:pt idx="3">
                  <c:v>9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uria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2.0</c:v>
                </c:pt>
                <c:pt idx="2">
                  <c:v>86.0</c:v>
                </c:pt>
                <c:pt idx="3">
                  <c:v>8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7.0</c:v>
                </c:pt>
                <c:pt idx="2">
                  <c:v>98.0</c:v>
                </c:pt>
                <c:pt idx="3">
                  <c:v>9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0.0</c:v>
                </c:pt>
                <c:pt idx="2">
                  <c:v>114.0</c:v>
                </c:pt>
                <c:pt idx="3">
                  <c:v>11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759,35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0,384,40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426,37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10759358</c:v>
                </c:pt>
                <c:pt idx="1">
                  <c:v>9818448</c:v>
                </c:pt>
                <c:pt idx="2">
                  <c:v>7643981</c:v>
                </c:pt>
                <c:pt idx="3">
                  <c:v>8443255</c:v>
                </c:pt>
                <c:pt idx="4">
                  <c:v>8246439</c:v>
                </c:pt>
                <c:pt idx="5">
                  <c:v>13039443</c:v>
                </c:pt>
                <c:pt idx="6">
                  <c:v>7225342</c:v>
                </c:pt>
                <c:pt idx="7">
                  <c:v>7608618</c:v>
                </c:pt>
                <c:pt idx="8">
                  <c:v>8774330</c:v>
                </c:pt>
                <c:pt idx="9">
                  <c:v>7632420</c:v>
                </c:pt>
                <c:pt idx="10">
                  <c:v>9849262</c:v>
                </c:pt>
                <c:pt idx="11">
                  <c:v>9994651</c:v>
                </c:pt>
                <c:pt idx="12">
                  <c:v>10488470</c:v>
                </c:pt>
                <c:pt idx="13">
                  <c:v>10384404</c:v>
                </c:pt>
                <c:pt idx="14">
                  <c:v>7816774</c:v>
                </c:pt>
                <c:pt idx="15">
                  <c:v>8319540</c:v>
                </c:pt>
                <c:pt idx="16">
                  <c:v>8798272</c:v>
                </c:pt>
                <c:pt idx="17">
                  <c:v>11408961</c:v>
                </c:pt>
                <c:pt idx="18">
                  <c:v>7701822</c:v>
                </c:pt>
                <c:pt idx="19">
                  <c:v>7331613</c:v>
                </c:pt>
                <c:pt idx="20">
                  <c:v>7372474</c:v>
                </c:pt>
                <c:pt idx="21">
                  <c:v>7770530</c:v>
                </c:pt>
                <c:pt idx="22">
                  <c:v>8608746</c:v>
                </c:pt>
                <c:pt idx="23">
                  <c:v>9031184</c:v>
                </c:pt>
                <c:pt idx="24">
                  <c:v>842637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7.3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7.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7.4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7.34</c:v>
                </c:pt>
                <c:pt idx="1">
                  <c:v>17.58</c:v>
                </c:pt>
                <c:pt idx="2">
                  <c:v>17.09</c:v>
                </c:pt>
                <c:pt idx="3">
                  <c:v>16.55</c:v>
                </c:pt>
                <c:pt idx="4">
                  <c:v>16.31</c:v>
                </c:pt>
                <c:pt idx="5">
                  <c:v>16.58</c:v>
                </c:pt>
                <c:pt idx="6">
                  <c:v>16.76</c:v>
                </c:pt>
                <c:pt idx="7">
                  <c:v>16.8</c:v>
                </c:pt>
                <c:pt idx="8">
                  <c:v>16.36</c:v>
                </c:pt>
                <c:pt idx="9">
                  <c:v>16.65</c:v>
                </c:pt>
                <c:pt idx="10">
                  <c:v>16.81</c:v>
                </c:pt>
                <c:pt idx="11">
                  <c:v>16.56</c:v>
                </c:pt>
                <c:pt idx="12">
                  <c:v>16.52</c:v>
                </c:pt>
                <c:pt idx="13">
                  <c:v>17.23</c:v>
                </c:pt>
                <c:pt idx="14">
                  <c:v>16.65</c:v>
                </c:pt>
                <c:pt idx="15">
                  <c:v>16.24</c:v>
                </c:pt>
                <c:pt idx="16">
                  <c:v>15.74</c:v>
                </c:pt>
                <c:pt idx="17">
                  <c:v>15.92</c:v>
                </c:pt>
                <c:pt idx="18">
                  <c:v>16.7</c:v>
                </c:pt>
                <c:pt idx="19">
                  <c:v>16.33</c:v>
                </c:pt>
                <c:pt idx="20">
                  <c:v>16.3</c:v>
                </c:pt>
                <c:pt idx="21">
                  <c:v>16.75</c:v>
                </c:pt>
                <c:pt idx="22">
                  <c:v>17.72</c:v>
                </c:pt>
                <c:pt idx="23">
                  <c:v>17.6</c:v>
                </c:pt>
                <c:pt idx="24">
                  <c:v>17.4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438095694238228</c:v>
                </c:pt>
                <c:pt idx="2">
                  <c:v>1.1439628334690357</c:v>
                </c:pt>
                <c:pt idx="3">
                  <c:v>1.157248910388428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5.0</c:v>
                </c:pt>
                <c:pt idx="2">
                  <c:v>116.0</c:v>
                </c:pt>
                <c:pt idx="3">
                  <c:v>11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7.0</c:v>
                </c:pt>
                <c:pt idx="2">
                  <c:v>117.0</c:v>
                </c:pt>
                <c:pt idx="3">
                  <c:v>12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uria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6.0</c:v>
                </c:pt>
                <c:pt idx="2">
                  <c:v>117.0</c:v>
                </c:pt>
                <c:pt idx="3">
                  <c:v>11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7.0</c:v>
                </c:pt>
                <c:pt idx="2">
                  <c:v>116.0</c:v>
                </c:pt>
                <c:pt idx="3">
                  <c:v>11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5.0</c:v>
                </c:pt>
                <c:pt idx="2">
                  <c:v>115.0</c:v>
                </c:pt>
                <c:pt idx="3">
                  <c:v>11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7.0</c:v>
                </c:pt>
                <c:pt idx="2">
                  <c:v>90.0</c:v>
                </c:pt>
                <c:pt idx="3">
                  <c:v>8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6.0</c:v>
                </c:pt>
                <c:pt idx="2">
                  <c:v>97.0</c:v>
                </c:pt>
                <c:pt idx="3">
                  <c:v>10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uria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2.0</c:v>
                </c:pt>
                <c:pt idx="2">
                  <c:v>86.0</c:v>
                </c:pt>
                <c:pt idx="3">
                  <c:v>75.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5.0</c:v>
                </c:pt>
                <c:pt idx="2">
                  <c:v>99.0</c:v>
                </c:pt>
                <c:pt idx="3">
                  <c:v>9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0.0</c:v>
                </c:pt>
                <c:pt idx="2">
                  <c:v>114.0</c:v>
                </c:pt>
                <c:pt idx="3">
                  <c:v>11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152917443530888</c:v>
                </c:pt>
                <c:pt idx="2">
                  <c:v>1.1297490601216493</c:v>
                </c:pt>
                <c:pt idx="3">
                  <c:v>1.157329013458854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2.0</c:v>
                </c:pt>
                <c:pt idx="2">
                  <c:v>114.0</c:v>
                </c:pt>
                <c:pt idx="3">
                  <c:v>11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6.0</c:v>
                </c:pt>
                <c:pt idx="2">
                  <c:v>116.0</c:v>
                </c:pt>
                <c:pt idx="3">
                  <c:v>12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uria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3.0</c:v>
                </c:pt>
                <c:pt idx="2">
                  <c:v>113.0</c:v>
                </c:pt>
                <c:pt idx="3">
                  <c:v>11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7.0</c:v>
                </c:pt>
                <c:pt idx="2">
                  <c:v>116.0</c:v>
                </c:pt>
                <c:pt idx="3">
                  <c:v>11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9.0</c:v>
                </c:pt>
                <c:pt idx="2">
                  <c:v>112.0</c:v>
                </c:pt>
                <c:pt idx="3">
                  <c:v>11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06.0</c:v>
                </c:pt>
                <c:pt idx="2">
                  <c:v>96.0</c:v>
                </c:pt>
                <c:pt idx="3">
                  <c:v>10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1.0</c:v>
                </c:pt>
                <c:pt idx="2">
                  <c:v>89.0</c:v>
                </c:pt>
                <c:pt idx="3">
                  <c:v>9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uria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54.0</c:v>
                </c:pt>
                <c:pt idx="2">
                  <c:v>40.0</c:v>
                </c:pt>
                <c:pt idx="3">
                  <c:v>2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9.0</c:v>
                </c:pt>
                <c:pt idx="2">
                  <c:v>99.0</c:v>
                </c:pt>
                <c:pt idx="3">
                  <c:v>9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8.0</c:v>
                </c:pt>
                <c:pt idx="2">
                  <c:v>136.0</c:v>
                </c:pt>
                <c:pt idx="3">
                  <c:v>14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187841490768966</c:v>
                </c:pt>
                <c:pt idx="2">
                  <c:v>1.1208144015643873</c:v>
                </c:pt>
                <c:pt idx="3">
                  <c:v>1.12949329959164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2.0</c:v>
                </c:pt>
                <c:pt idx="2">
                  <c:v>112.0</c:v>
                </c:pt>
                <c:pt idx="3">
                  <c:v>1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7.0</c:v>
                </c:pt>
                <c:pt idx="2">
                  <c:v>109.0</c:v>
                </c:pt>
                <c:pt idx="3">
                  <c:v>11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uria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05.0</c:v>
                </c:pt>
                <c:pt idx="2">
                  <c:v>106.0</c:v>
                </c:pt>
                <c:pt idx="3">
                  <c:v>10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1.0</c:v>
                </c:pt>
                <c:pt idx="2">
                  <c:v>111.0</c:v>
                </c:pt>
                <c:pt idx="3">
                  <c:v>113.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28.0</c:v>
                </c:pt>
                <c:pt idx="2">
                  <c:v>127.0</c:v>
                </c:pt>
                <c:pt idx="3">
                  <c:v>12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06.0</c:v>
                </c:pt>
                <c:pt idx="2">
                  <c:v>99.0</c:v>
                </c:pt>
                <c:pt idx="3">
                  <c:v>9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4.0</c:v>
                </c:pt>
                <c:pt idx="2">
                  <c:v>78.0</c:v>
                </c:pt>
                <c:pt idx="3">
                  <c:v>12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Triballat Noya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2</c:f>
              <c:numCache>
                <c:formatCode>General</c:formatCode>
                <c:ptCount val="1"/>
                <c:pt idx="0">
                  <c:v>10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00.0</c:v>
                </c:pt>
                <c:pt idx="2">
                  <c:v>102.0</c:v>
                </c:pt>
                <c:pt idx="3">
                  <c:v>10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93.0</c:v>
                </c:pt>
                <c:pt idx="2">
                  <c:v>98.0</c:v>
                </c:pt>
                <c:pt idx="3">
                  <c:v>8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4.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53828009720188</c:v>
                </c:pt>
                <c:pt idx="2">
                  <c:v>1.1446069961217984</c:v>
                </c:pt>
                <c:pt idx="3">
                  <c:v>1.14349345313519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8.0</c:v>
                </c:pt>
                <c:pt idx="2">
                  <c:v>113.0</c:v>
                </c:pt>
                <c:pt idx="3">
                  <c:v>11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7.0</c:v>
                </c:pt>
                <c:pt idx="2">
                  <c:v>110.0</c:v>
                </c:pt>
                <c:pt idx="3">
                  <c:v>12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Triballat Noya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2</c:f>
              <c:numCache>
                <c:formatCode>General</c:formatCode>
                <c:ptCount val="1"/>
                <c:pt idx="0">
                  <c:v>10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5.0</c:v>
                </c:pt>
                <c:pt idx="2">
                  <c:v>115.0</c:v>
                </c:pt>
                <c:pt idx="3">
                  <c:v>116.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33.0</c:v>
                </c:pt>
                <c:pt idx="2">
                  <c:v>140.0</c:v>
                </c:pt>
                <c:pt idx="3">
                  <c:v>14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04.0</c:v>
                </c:pt>
                <c:pt idx="2">
                  <c:v>91.0</c:v>
                </c:pt>
                <c:pt idx="3">
                  <c:v>10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1.0</c:v>
                </c:pt>
                <c:pt idx="2">
                  <c:v>103.0</c:v>
                </c:pt>
                <c:pt idx="3">
                  <c:v>9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uria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3</c:f>
              <c:numCache>
                <c:formatCode>General</c:formatCode>
                <c:ptCount val="2"/>
                <c:pt idx="0">
                  <c:v>100.0</c:v>
                </c:pt>
                <c:pt idx="1">
                  <c:v>2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it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3</c:f>
              <c:numCache>
                <c:formatCode>General</c:formatCode>
                <c:ptCount val="2"/>
                <c:pt idx="0">
                  <c:v>100.0</c:v>
                </c:pt>
                <c:pt idx="1">
                  <c:v>2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92.0</c:v>
                </c:pt>
                <c:pt idx="2">
                  <c:v>104.0</c:v>
                </c:pt>
                <c:pt idx="3">
                  <c:v>11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314992651529014</c:v>
                </c:pt>
                <c:pt idx="2">
                  <c:v>1.1118738305897076</c:v>
                </c:pt>
                <c:pt idx="3">
                  <c:v>1.17910791332935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4.0</c:v>
                </c:pt>
                <c:pt idx="2">
                  <c:v>117.0</c:v>
                </c:pt>
                <c:pt idx="3">
                  <c:v>11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1.0</c:v>
                </c:pt>
                <c:pt idx="2">
                  <c:v>109.0</c:v>
                </c:pt>
                <c:pt idx="3">
                  <c:v>11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uria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3</c:f>
              <c:numCache>
                <c:formatCode>General</c:formatCode>
                <c:ptCount val="2"/>
                <c:pt idx="0">
                  <c:v>100.0</c:v>
                </c:pt>
                <c:pt idx="1">
                  <c:v>10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it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3</c:f>
              <c:numCache>
                <c:formatCode>General</c:formatCode>
                <c:ptCount val="2"/>
                <c:pt idx="0">
                  <c:v>100.0</c:v>
                </c:pt>
                <c:pt idx="1">
                  <c:v>119.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39.0</c:v>
                </c:pt>
                <c:pt idx="2">
                  <c:v>136.0</c:v>
                </c:pt>
                <c:pt idx="3">
                  <c:v>13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61.0</c:v>
                </c:pt>
                <c:pt idx="2">
                  <c:v>48.0</c:v>
                </c:pt>
                <c:pt idx="3">
                  <c:v>4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5.0</c:v>
                </c:pt>
                <c:pt idx="2">
                  <c:v>107.0</c:v>
                </c:pt>
                <c:pt idx="3">
                  <c:v>15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illere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2.0</c:v>
                </c:pt>
                <c:pt idx="2">
                  <c:v>99.0</c:v>
                </c:pt>
                <c:pt idx="3">
                  <c:v>14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64.0</c:v>
                </c:pt>
                <c:pt idx="2">
                  <c:v>64.0</c:v>
                </c:pt>
                <c:pt idx="3">
                  <c:v>2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7.0</c:v>
                </c:pt>
                <c:pt idx="2">
                  <c:v>106.0</c:v>
                </c:pt>
                <c:pt idx="3">
                  <c:v>8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80.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38,060,86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37,249,24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81,644,4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138060860</c:v>
                </c:pt>
                <c:pt idx="1">
                  <c:v>140599859</c:v>
                </c:pt>
                <c:pt idx="2">
                  <c:v>133984868</c:v>
                </c:pt>
                <c:pt idx="3">
                  <c:v>143264699</c:v>
                </c:pt>
                <c:pt idx="4">
                  <c:v>139627716</c:v>
                </c:pt>
                <c:pt idx="5">
                  <c:v>152302933</c:v>
                </c:pt>
                <c:pt idx="6">
                  <c:v>135870571</c:v>
                </c:pt>
                <c:pt idx="7">
                  <c:v>126557198</c:v>
                </c:pt>
                <c:pt idx="8">
                  <c:v>139477907</c:v>
                </c:pt>
                <c:pt idx="9">
                  <c:v>125624706</c:v>
                </c:pt>
                <c:pt idx="10">
                  <c:v>132902727</c:v>
                </c:pt>
                <c:pt idx="11">
                  <c:v>128053957</c:v>
                </c:pt>
                <c:pt idx="12">
                  <c:v>133930599</c:v>
                </c:pt>
                <c:pt idx="13">
                  <c:v>137249248</c:v>
                </c:pt>
                <c:pt idx="14">
                  <c:v>132416353</c:v>
                </c:pt>
                <c:pt idx="15">
                  <c:v>143462476</c:v>
                </c:pt>
                <c:pt idx="16">
                  <c:v>145427958</c:v>
                </c:pt>
                <c:pt idx="17">
                  <c:v>175425846</c:v>
                </c:pt>
                <c:pt idx="18">
                  <c:v>76273060</c:v>
                </c:pt>
                <c:pt idx="19">
                  <c:v>54219941</c:v>
                </c:pt>
                <c:pt idx="20">
                  <c:v>62208373</c:v>
                </c:pt>
                <c:pt idx="21">
                  <c:v>64705354</c:v>
                </c:pt>
                <c:pt idx="22">
                  <c:v>73300417</c:v>
                </c:pt>
                <c:pt idx="23">
                  <c:v>78190886</c:v>
                </c:pt>
                <c:pt idx="24">
                  <c:v>81644443</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2.8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2.5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8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2.84</c:v>
                </c:pt>
                <c:pt idx="1">
                  <c:v>12.74</c:v>
                </c:pt>
                <c:pt idx="2">
                  <c:v>12.52</c:v>
                </c:pt>
                <c:pt idx="3">
                  <c:v>12.62</c:v>
                </c:pt>
                <c:pt idx="4">
                  <c:v>12.7</c:v>
                </c:pt>
                <c:pt idx="5">
                  <c:v>12.92</c:v>
                </c:pt>
                <c:pt idx="6">
                  <c:v>12.39</c:v>
                </c:pt>
                <c:pt idx="7">
                  <c:v>12.36</c:v>
                </c:pt>
                <c:pt idx="8">
                  <c:v>12.21</c:v>
                </c:pt>
                <c:pt idx="9">
                  <c:v>12.4</c:v>
                </c:pt>
                <c:pt idx="10">
                  <c:v>12.35</c:v>
                </c:pt>
                <c:pt idx="11">
                  <c:v>12.37</c:v>
                </c:pt>
                <c:pt idx="12">
                  <c:v>12.58</c:v>
                </c:pt>
                <c:pt idx="13">
                  <c:v>12.55</c:v>
                </c:pt>
                <c:pt idx="14">
                  <c:v>12.29</c:v>
                </c:pt>
                <c:pt idx="15">
                  <c:v>12.36</c:v>
                </c:pt>
                <c:pt idx="16">
                  <c:v>12.46</c:v>
                </c:pt>
                <c:pt idx="17">
                  <c:v>12.49</c:v>
                </c:pt>
                <c:pt idx="18">
                  <c:v>12.07</c:v>
                </c:pt>
                <c:pt idx="19">
                  <c:v>11.73</c:v>
                </c:pt>
                <c:pt idx="20">
                  <c:v>11.82</c:v>
                </c:pt>
                <c:pt idx="21">
                  <c:v>12.54</c:v>
                </c:pt>
                <c:pt idx="22">
                  <c:v>12.54</c:v>
                </c:pt>
                <c:pt idx="23">
                  <c:v>12.7</c:v>
                </c:pt>
                <c:pt idx="24">
                  <c:v>12.8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2112625313283207</c:v>
                </c:pt>
                <c:pt idx="2">
                  <c:v>1.2049498746867167</c:v>
                </c:pt>
                <c:pt idx="3">
                  <c:v>1.210557644110275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5.0</c:v>
                </c:pt>
                <c:pt idx="2">
                  <c:v>119.0</c:v>
                </c:pt>
                <c:pt idx="3">
                  <c:v>124.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4.0</c:v>
                </c:pt>
                <c:pt idx="2">
                  <c:v>111.0</c:v>
                </c:pt>
                <c:pt idx="3">
                  <c:v>10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illere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1.0</c:v>
                </c:pt>
                <c:pt idx="2">
                  <c:v>115.0</c:v>
                </c:pt>
                <c:pt idx="3">
                  <c:v>12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32.0</c:v>
                </c:pt>
                <c:pt idx="2">
                  <c:v>133.0</c:v>
                </c:pt>
                <c:pt idx="3">
                  <c:v>147.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26.0</c:v>
                </c:pt>
                <c:pt idx="2">
                  <c:v>127.0</c:v>
                </c:pt>
                <c:pt idx="3">
                  <c:v>12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6.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73.0</c:v>
                </c:pt>
                <c:pt idx="2">
                  <c:v>54.0</c:v>
                </c:pt>
                <c:pt idx="3">
                  <c:v>5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9.0</c:v>
                </c:pt>
                <c:pt idx="2">
                  <c:v>106.0</c:v>
                </c:pt>
                <c:pt idx="3">
                  <c:v>10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illere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02.0</c:v>
                </c:pt>
                <c:pt idx="2">
                  <c:v>118.0</c:v>
                </c:pt>
                <c:pt idx="3">
                  <c:v>23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9.0</c:v>
                </c:pt>
                <c:pt idx="2">
                  <c:v>91.0</c:v>
                </c:pt>
                <c:pt idx="3">
                  <c:v>9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91.0</c:v>
                </c:pt>
                <c:pt idx="2">
                  <c:v>92.0</c:v>
                </c:pt>
                <c:pt idx="3">
                  <c:v>96.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7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2689012406338285</c:v>
                </c:pt>
                <c:pt idx="2">
                  <c:v>1.2460999877164967</c:v>
                </c:pt>
                <c:pt idx="3">
                  <c:v>1.211460508537034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8.0</c:v>
                </c:pt>
                <c:pt idx="2">
                  <c:v>119.0</c:v>
                </c:pt>
                <c:pt idx="3">
                  <c:v>11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4.0</c:v>
                </c:pt>
                <c:pt idx="2">
                  <c:v>121.0</c:v>
                </c:pt>
                <c:pt idx="3">
                  <c:v>10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illere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25.0</c:v>
                </c:pt>
                <c:pt idx="2">
                  <c:v>120.0</c:v>
                </c:pt>
                <c:pt idx="3">
                  <c:v>12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29.0</c:v>
                </c:pt>
                <c:pt idx="2">
                  <c:v>131.0</c:v>
                </c:pt>
                <c:pt idx="3">
                  <c:v>13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30.0</c:v>
                </c:pt>
                <c:pt idx="2">
                  <c:v>129.0</c:v>
                </c:pt>
                <c:pt idx="3">
                  <c:v>12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33.0</c:v>
                </c:pt>
                <c:pt idx="2">
                  <c:v>11.0</c:v>
                </c:pt>
                <c:pt idx="3">
                  <c:v>2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0.0</c:v>
                </c:pt>
                <c:pt idx="2">
                  <c:v>129.0</c:v>
                </c:pt>
                <c:pt idx="3">
                  <c:v>12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illere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9.0</c:v>
                </c:pt>
                <c:pt idx="2">
                  <c:v>131.0</c:v>
                </c:pt>
                <c:pt idx="3">
                  <c:v>144.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20.0</c:v>
                </c:pt>
                <c:pt idx="2">
                  <c:v>14.0</c:v>
                </c:pt>
                <c:pt idx="3">
                  <c:v>1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4.0</c:v>
                </c:pt>
                <c:pt idx="2">
                  <c:v>110.0</c:v>
                </c:pt>
                <c:pt idx="3">
                  <c:v>10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628368150166515</c:v>
                </c:pt>
                <c:pt idx="2">
                  <c:v>1.152270663033606</c:v>
                </c:pt>
                <c:pt idx="3">
                  <c:v>1.1730245231607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6.0</c:v>
                </c:pt>
                <c:pt idx="2">
                  <c:v>137.0</c:v>
                </c:pt>
                <c:pt idx="3">
                  <c:v>12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8.0</c:v>
                </c:pt>
                <c:pt idx="2">
                  <c:v>105.0</c:v>
                </c:pt>
                <c:pt idx="3">
                  <c:v>105.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illeret</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7.0</c:v>
                </c:pt>
                <c:pt idx="2">
                  <c:v>116.0</c:v>
                </c:pt>
                <c:pt idx="3">
                  <c:v>121.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66.0</c:v>
                </c:pt>
                <c:pt idx="2">
                  <c:v>163.0</c:v>
                </c:pt>
                <c:pt idx="3">
                  <c:v>16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23.0</c:v>
                </c:pt>
                <c:pt idx="2">
                  <c:v>123.0</c:v>
                </c:pt>
                <c:pt idx="3">
                  <c:v>12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01.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02.0</c:v>
                </c:pt>
                <c:pt idx="2">
                  <c:v>84.0</c:v>
                </c:pt>
                <c:pt idx="3">
                  <c:v>6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2.0</c:v>
                </c:pt>
                <c:pt idx="2">
                  <c:v>83.0</c:v>
                </c:pt>
                <c:pt idx="3">
                  <c:v>7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7.0</c:v>
                </c:pt>
                <c:pt idx="2">
                  <c:v>119.0</c:v>
                </c:pt>
                <c:pt idx="3">
                  <c:v>11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6.0</c:v>
                </c:pt>
                <c:pt idx="2">
                  <c:v>97.0</c:v>
                </c:pt>
                <c:pt idx="3">
                  <c:v>9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Kerr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0.0</c:v>
                </c:pt>
                <c:pt idx="2">
                  <c:v>103.0</c:v>
                </c:pt>
                <c:pt idx="3">
                  <c:v>12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8.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397900949849509</c:v>
                </c:pt>
                <c:pt idx="2">
                  <c:v>1.1318160497205176</c:v>
                </c:pt>
                <c:pt idx="3">
                  <c:v>1.14843841613571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5.0</c:v>
                </c:pt>
                <c:pt idx="2">
                  <c:v>121.0</c:v>
                </c:pt>
                <c:pt idx="3">
                  <c:v>12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3.0</c:v>
                </c:pt>
                <c:pt idx="2">
                  <c:v>133.0</c:v>
                </c:pt>
                <c:pt idx="3">
                  <c:v>13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7.0</c:v>
                </c:pt>
                <c:pt idx="2">
                  <c:v>116.0</c:v>
                </c:pt>
                <c:pt idx="3">
                  <c:v>11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6.0</c:v>
                </c:pt>
                <c:pt idx="2">
                  <c:v>115.0</c:v>
                </c:pt>
                <c:pt idx="3">
                  <c:v>11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Kerr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4.0</c:v>
                </c:pt>
                <c:pt idx="2">
                  <c:v>111.0</c:v>
                </c:pt>
                <c:pt idx="3">
                  <c:v>1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9.0</c:v>
                </c:pt>
                <c:pt idx="2">
                  <c:v>86.0</c:v>
                </c:pt>
                <c:pt idx="3">
                  <c:v>6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0.0</c:v>
                </c:pt>
                <c:pt idx="2">
                  <c:v>110.0</c:v>
                </c:pt>
                <c:pt idx="3">
                  <c:v>25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23.0</c:v>
                </c:pt>
                <c:pt idx="2">
                  <c:v>119.0</c:v>
                </c:pt>
                <c:pt idx="3">
                  <c:v>12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7.0</c:v>
                </c:pt>
                <c:pt idx="2">
                  <c:v>98.0</c:v>
                </c:pt>
                <c:pt idx="3">
                  <c:v>9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Kerr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0.0</c:v>
                </c:pt>
                <c:pt idx="2">
                  <c:v>104.0</c:v>
                </c:pt>
                <c:pt idx="3">
                  <c:v>12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30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5187265003174</c:v>
                </c:pt>
                <c:pt idx="2">
                  <c:v>1.147614629620587</c:v>
                </c:pt>
                <c:pt idx="3">
                  <c:v>1.162654426485668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6.0</c:v>
                </c:pt>
                <c:pt idx="2">
                  <c:v>124.0</c:v>
                </c:pt>
                <c:pt idx="3">
                  <c:v>13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1.0</c:v>
                </c:pt>
                <c:pt idx="2">
                  <c:v>104.0</c:v>
                </c:pt>
                <c:pt idx="3">
                  <c:v>11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20.0</c:v>
                </c:pt>
                <c:pt idx="2">
                  <c:v>120.0</c:v>
                </c:pt>
                <c:pt idx="3">
                  <c:v>11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6.0</c:v>
                </c:pt>
                <c:pt idx="2">
                  <c:v>115.0</c:v>
                </c:pt>
                <c:pt idx="3">
                  <c:v>116.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Kerry</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7.0</c:v>
                </c:pt>
                <c:pt idx="2">
                  <c:v>112.0</c:v>
                </c:pt>
                <c:pt idx="3">
                  <c:v>10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02.0</c:v>
                </c:pt>
                <c:pt idx="2">
                  <c:v>74.0</c:v>
                </c:pt>
                <c:pt idx="3">
                  <c:v>4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6.0</c:v>
                </c:pt>
                <c:pt idx="2">
                  <c:v>97.0</c:v>
                </c:pt>
                <c:pt idx="3">
                  <c:v>9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Ker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00.0</c:v>
                </c:pt>
                <c:pt idx="2">
                  <c:v>97.0</c:v>
                </c:pt>
                <c:pt idx="3">
                  <c:v>11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27.0</c:v>
                </c:pt>
                <c:pt idx="2">
                  <c:v>130.0</c:v>
                </c:pt>
                <c:pt idx="3">
                  <c:v>12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446,58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38,07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811,088</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1446588</c:v>
                </c:pt>
                <c:pt idx="1">
                  <c:v>1648557</c:v>
                </c:pt>
                <c:pt idx="2">
                  <c:v>1683580</c:v>
                </c:pt>
                <c:pt idx="3">
                  <c:v>1910885</c:v>
                </c:pt>
                <c:pt idx="4">
                  <c:v>1834491</c:v>
                </c:pt>
                <c:pt idx="5">
                  <c:v>1405539</c:v>
                </c:pt>
                <c:pt idx="6">
                  <c:v>1640252</c:v>
                </c:pt>
                <c:pt idx="7">
                  <c:v>1930922</c:v>
                </c:pt>
                <c:pt idx="8">
                  <c:v>2405263</c:v>
                </c:pt>
                <c:pt idx="9">
                  <c:v>2033522</c:v>
                </c:pt>
                <c:pt idx="10">
                  <c:v>1828595</c:v>
                </c:pt>
                <c:pt idx="11">
                  <c:v>1802317</c:v>
                </c:pt>
                <c:pt idx="12">
                  <c:v>1544729</c:v>
                </c:pt>
                <c:pt idx="13">
                  <c:v>1638077</c:v>
                </c:pt>
                <c:pt idx="14">
                  <c:v>1674181</c:v>
                </c:pt>
                <c:pt idx="15">
                  <c:v>2026850</c:v>
                </c:pt>
                <c:pt idx="16">
                  <c:v>1875541</c:v>
                </c:pt>
                <c:pt idx="17">
                  <c:v>1569084</c:v>
                </c:pt>
                <c:pt idx="18">
                  <c:v>1815351</c:v>
                </c:pt>
                <c:pt idx="19">
                  <c:v>1998681</c:v>
                </c:pt>
                <c:pt idx="20">
                  <c:v>2291443</c:v>
                </c:pt>
                <c:pt idx="21">
                  <c:v>2095496</c:v>
                </c:pt>
                <c:pt idx="22">
                  <c:v>2008930</c:v>
                </c:pt>
                <c:pt idx="23">
                  <c:v>2011665</c:v>
                </c:pt>
                <c:pt idx="24">
                  <c:v>1811088</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4.0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2.4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2.8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4.06</c:v>
                </c:pt>
                <c:pt idx="1">
                  <c:v>12.63</c:v>
                </c:pt>
                <c:pt idx="2">
                  <c:v>13.02</c:v>
                </c:pt>
                <c:pt idx="3">
                  <c:v>12.42</c:v>
                </c:pt>
                <c:pt idx="4">
                  <c:v>13.04</c:v>
                </c:pt>
                <c:pt idx="5">
                  <c:v>13.39</c:v>
                </c:pt>
                <c:pt idx="6">
                  <c:v>12.29</c:v>
                </c:pt>
                <c:pt idx="7">
                  <c:v>11.98</c:v>
                </c:pt>
                <c:pt idx="8">
                  <c:v>11.93</c:v>
                </c:pt>
                <c:pt idx="9">
                  <c:v>13.45</c:v>
                </c:pt>
                <c:pt idx="10">
                  <c:v>12.68</c:v>
                </c:pt>
                <c:pt idx="11">
                  <c:v>12.86</c:v>
                </c:pt>
                <c:pt idx="12">
                  <c:v>13.38</c:v>
                </c:pt>
                <c:pt idx="13">
                  <c:v>12.43</c:v>
                </c:pt>
                <c:pt idx="14">
                  <c:v>12.67</c:v>
                </c:pt>
                <c:pt idx="15">
                  <c:v>12.23</c:v>
                </c:pt>
                <c:pt idx="16">
                  <c:v>13.13</c:v>
                </c:pt>
                <c:pt idx="17">
                  <c:v>13.35</c:v>
                </c:pt>
                <c:pt idx="18">
                  <c:v>12.23</c:v>
                </c:pt>
                <c:pt idx="19">
                  <c:v>11.79</c:v>
                </c:pt>
                <c:pt idx="20">
                  <c:v>12.05</c:v>
                </c:pt>
                <c:pt idx="21">
                  <c:v>13.14</c:v>
                </c:pt>
                <c:pt idx="22">
                  <c:v>12.38</c:v>
                </c:pt>
                <c:pt idx="23">
                  <c:v>12.34</c:v>
                </c:pt>
                <c:pt idx="24">
                  <c:v>12.8</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358280662014542</c:v>
                </c:pt>
                <c:pt idx="2">
                  <c:v>1.1289320814000219</c:v>
                </c:pt>
                <c:pt idx="3">
                  <c:v>1.158397574074750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5.0</c:v>
                </c:pt>
                <c:pt idx="2">
                  <c:v>116.0</c:v>
                </c:pt>
                <c:pt idx="3">
                  <c:v>120.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7.0</c:v>
                </c:pt>
                <c:pt idx="2">
                  <c:v>116.0</c:v>
                </c:pt>
                <c:pt idx="3">
                  <c:v>11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Kerry</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5.0</c:v>
                </c:pt>
                <c:pt idx="2">
                  <c:v>110.0</c:v>
                </c:pt>
                <c:pt idx="3">
                  <c:v>11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Mdd</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3.0</c:v>
                </c:pt>
                <c:pt idx="2">
                  <c:v>116.0</c:v>
                </c:pt>
                <c:pt idx="3">
                  <c:v>11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6.0</c:v>
                </c:pt>
                <c:pt idx="2">
                  <c:v>92.0</c:v>
                </c:pt>
                <c:pt idx="3">
                  <c:v>9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4.0</c:v>
                </c:pt>
                <c:pt idx="2">
                  <c:v>93.0</c:v>
                </c:pt>
                <c:pt idx="3">
                  <c:v>8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ondelez</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3.0</c:v>
                </c:pt>
                <c:pt idx="2">
                  <c:v>89.0</c:v>
                </c:pt>
                <c:pt idx="3">
                  <c:v>9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it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0.0</c:v>
                </c:pt>
                <c:pt idx="2">
                  <c:v>124.0</c:v>
                </c:pt>
                <c:pt idx="3">
                  <c:v>14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8.0</c:v>
                </c:pt>
                <c:pt idx="2">
                  <c:v>114.0</c:v>
                </c:pt>
                <c:pt idx="3">
                  <c:v>10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005581207044466</c:v>
                </c:pt>
                <c:pt idx="2">
                  <c:v>1.0832746937083697</c:v>
                </c:pt>
                <c:pt idx="3">
                  <c:v>1.06856498395041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0.0</c:v>
                </c:pt>
                <c:pt idx="2">
                  <c:v>109.0</c:v>
                </c:pt>
                <c:pt idx="3">
                  <c:v>10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8.0</c:v>
                </c:pt>
                <c:pt idx="2">
                  <c:v>119.0</c:v>
                </c:pt>
                <c:pt idx="3">
                  <c:v>11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ondelez</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23.0</c:v>
                </c:pt>
                <c:pt idx="2">
                  <c:v>122.0</c:v>
                </c:pt>
                <c:pt idx="3">
                  <c:v>11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it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4.0</c:v>
                </c:pt>
                <c:pt idx="2">
                  <c:v>114.0</c:v>
                </c:pt>
                <c:pt idx="3">
                  <c:v>11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7.0</c:v>
                </c:pt>
                <c:pt idx="2">
                  <c:v>105.0</c:v>
                </c:pt>
                <c:pt idx="3">
                  <c:v>10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3.0</c:v>
                </c:pt>
                <c:pt idx="2">
                  <c:v>90.0</c:v>
                </c:pt>
                <c:pt idx="3">
                  <c:v>9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3.0</c:v>
                </c:pt>
                <c:pt idx="2">
                  <c:v>102.0</c:v>
                </c:pt>
                <c:pt idx="3">
                  <c:v>9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ondelez</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00.0</c:v>
                </c:pt>
                <c:pt idx="2">
                  <c:v>87.0</c:v>
                </c:pt>
                <c:pt idx="3">
                  <c:v>8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it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03.0</c:v>
                </c:pt>
                <c:pt idx="2">
                  <c:v>114.0</c:v>
                </c:pt>
                <c:pt idx="3">
                  <c:v>13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7.0</c:v>
                </c:pt>
                <c:pt idx="2">
                  <c:v>113.0</c:v>
                </c:pt>
                <c:pt idx="3">
                  <c:v>9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57.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48036855348189</c:v>
                </c:pt>
                <c:pt idx="2">
                  <c:v>1.1146027551001936</c:v>
                </c:pt>
                <c:pt idx="3">
                  <c:v>1.093477906703111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4.0</c:v>
                </c:pt>
                <c:pt idx="2">
                  <c:v>112.0</c:v>
                </c:pt>
                <c:pt idx="3">
                  <c:v>10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1.0</c:v>
                </c:pt>
                <c:pt idx="2">
                  <c:v>122.0</c:v>
                </c:pt>
                <c:pt idx="3">
                  <c:v>12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ondelez</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21.0</c:v>
                </c:pt>
                <c:pt idx="2">
                  <c:v>122.0</c:v>
                </c:pt>
                <c:pt idx="3">
                  <c:v>112.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it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9.0</c:v>
                </c:pt>
                <c:pt idx="2">
                  <c:v>116.0</c:v>
                </c:pt>
                <c:pt idx="3">
                  <c:v>11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3.0</c:v>
                </c:pt>
                <c:pt idx="2">
                  <c:v>107.0</c:v>
                </c:pt>
                <c:pt idx="3">
                  <c:v>10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6.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6.0</c:v>
                </c:pt>
                <c:pt idx="2">
                  <c:v>88.0</c:v>
                </c:pt>
                <c:pt idx="3">
                  <c:v>9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0.0</c:v>
                </c:pt>
                <c:pt idx="2">
                  <c:v>93.0</c:v>
                </c:pt>
                <c:pt idx="3">
                  <c:v>8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ondelez</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05.0</c:v>
                </c:pt>
                <c:pt idx="2">
                  <c:v>104.0</c:v>
                </c:pt>
                <c:pt idx="3">
                  <c:v>7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Lait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27.0</c:v>
                </c:pt>
                <c:pt idx="2">
                  <c:v>174.0</c:v>
                </c:pt>
                <c:pt idx="3">
                  <c:v>228.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6.0</c:v>
                </c:pt>
                <c:pt idx="2">
                  <c:v>122.0</c:v>
                </c:pt>
                <c:pt idx="3">
                  <c:v>100.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73.59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075535147802726</c:v>
                </c:pt>
                <c:pt idx="2">
                  <c:v>1.1031999314096275</c:v>
                </c:pt>
                <c:pt idx="3">
                  <c:v>1.122471920816225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2.0</c:v>
                </c:pt>
                <c:pt idx="2">
                  <c:v>111.0</c:v>
                </c:pt>
                <c:pt idx="3">
                  <c:v>11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7.0</c:v>
                </c:pt>
                <c:pt idx="2">
                  <c:v>120.0</c:v>
                </c:pt>
                <c:pt idx="3">
                  <c:v>12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ondelez</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24.0</c:v>
                </c:pt>
                <c:pt idx="2">
                  <c:v>128.0</c:v>
                </c:pt>
                <c:pt idx="3">
                  <c:v>12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Lait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3.0</c:v>
                </c:pt>
                <c:pt idx="2">
                  <c:v>112.0</c:v>
                </c:pt>
                <c:pt idx="3">
                  <c:v>1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9.0</c:v>
                </c:pt>
                <c:pt idx="2">
                  <c:v>111.0</c:v>
                </c:pt>
                <c:pt idx="3">
                  <c:v>11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88.0</c:v>
                </c:pt>
                <c:pt idx="2">
                  <c:v>83.0</c:v>
                </c:pt>
                <c:pt idx="3">
                  <c:v>9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6.0</c:v>
                </c:pt>
                <c:pt idx="2">
                  <c:v>85.0</c:v>
                </c:pt>
                <c:pt idx="3">
                  <c:v>84.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sa Azzurr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5.0</c:v>
                </c:pt>
                <c:pt idx="2">
                  <c:v>102.0</c:v>
                </c:pt>
                <c:pt idx="3">
                  <c:v>11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85.0</c:v>
                </c:pt>
                <c:pt idx="2">
                  <c:v>78.0</c:v>
                </c:pt>
                <c:pt idx="3">
                  <c:v>6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5.0</c:v>
                </c:pt>
                <c:pt idx="2">
                  <c:v>110.0</c:v>
                </c:pt>
                <c:pt idx="3">
                  <c:v>10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400122314807737</c:v>
                </c:pt>
                <c:pt idx="2">
                  <c:v>1.1574898708049843</c:v>
                </c:pt>
                <c:pt idx="3">
                  <c:v>1.190103967586575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24.0</c:v>
                </c:pt>
                <c:pt idx="2">
                  <c:v>129.0</c:v>
                </c:pt>
                <c:pt idx="3">
                  <c:v>12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3.0</c:v>
                </c:pt>
                <c:pt idx="2">
                  <c:v>124.0</c:v>
                </c:pt>
                <c:pt idx="3">
                  <c:v>127.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sa Azzurr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07.0</c:v>
                </c:pt>
                <c:pt idx="2">
                  <c:v>106.0</c:v>
                </c:pt>
                <c:pt idx="3">
                  <c:v>10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5.0</c:v>
                </c:pt>
                <c:pt idx="2">
                  <c:v>114.0</c:v>
                </c:pt>
                <c:pt idx="3">
                  <c:v>11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4.0</c:v>
                </c:pt>
                <c:pt idx="2">
                  <c:v>117.0</c:v>
                </c:pt>
                <c:pt idx="3">
                  <c:v>119.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70.0</c:v>
                </c:pt>
                <c:pt idx="2">
                  <c:v>84.0</c:v>
                </c:pt>
                <c:pt idx="3">
                  <c:v>9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1.0</c:v>
                </c:pt>
                <c:pt idx="2">
                  <c:v>92.0</c:v>
                </c:pt>
                <c:pt idx="3">
                  <c:v>91.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sa Azzurr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82.0</c:v>
                </c:pt>
                <c:pt idx="2">
                  <c:v>90.0</c:v>
                </c:pt>
                <c:pt idx="3">
                  <c:v>10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9.0</c:v>
                </c:pt>
                <c:pt idx="2">
                  <c:v>95.0</c:v>
                </c:pt>
                <c:pt idx="3">
                  <c:v>8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1.0</c:v>
                </c:pt>
                <c:pt idx="2">
                  <c:v>114.0</c:v>
                </c:pt>
                <c:pt idx="3">
                  <c:v>10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2,461,343</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2,678,58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2,358,58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2461343</c:v>
                </c:pt>
                <c:pt idx="1">
                  <c:v>2529327</c:v>
                </c:pt>
                <c:pt idx="2">
                  <c:v>2714159</c:v>
                </c:pt>
                <c:pt idx="3">
                  <c:v>2950227</c:v>
                </c:pt>
                <c:pt idx="4">
                  <c:v>2607960</c:v>
                </c:pt>
                <c:pt idx="5">
                  <c:v>2204525</c:v>
                </c:pt>
                <c:pt idx="6">
                  <c:v>2618087</c:v>
                </c:pt>
                <c:pt idx="7">
                  <c:v>3130228</c:v>
                </c:pt>
                <c:pt idx="8">
                  <c:v>4603033</c:v>
                </c:pt>
                <c:pt idx="9">
                  <c:v>2865780</c:v>
                </c:pt>
                <c:pt idx="10">
                  <c:v>2586960</c:v>
                </c:pt>
                <c:pt idx="11">
                  <c:v>2793638</c:v>
                </c:pt>
                <c:pt idx="12">
                  <c:v>2433153</c:v>
                </c:pt>
                <c:pt idx="13">
                  <c:v>2678586</c:v>
                </c:pt>
                <c:pt idx="14">
                  <c:v>2720176</c:v>
                </c:pt>
                <c:pt idx="15">
                  <c:v>3019678</c:v>
                </c:pt>
                <c:pt idx="16">
                  <c:v>2762121</c:v>
                </c:pt>
                <c:pt idx="17">
                  <c:v>2601794</c:v>
                </c:pt>
                <c:pt idx="18">
                  <c:v>2652036</c:v>
                </c:pt>
                <c:pt idx="19">
                  <c:v>3314766</c:v>
                </c:pt>
                <c:pt idx="20">
                  <c:v>3593359</c:v>
                </c:pt>
                <c:pt idx="21">
                  <c:v>2050113</c:v>
                </c:pt>
                <c:pt idx="22">
                  <c:v>2234189</c:v>
                </c:pt>
                <c:pt idx="23">
                  <c:v>2148367</c:v>
                </c:pt>
                <c:pt idx="24">
                  <c:v>2358580</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0.2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9.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0.1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0.22</c:v>
                </c:pt>
                <c:pt idx="1">
                  <c:v>9.97</c:v>
                </c:pt>
                <c:pt idx="2">
                  <c:v>9.6</c:v>
                </c:pt>
                <c:pt idx="3">
                  <c:v>9.41</c:v>
                </c:pt>
                <c:pt idx="4">
                  <c:v>9.58</c:v>
                </c:pt>
                <c:pt idx="5">
                  <c:v>10.72</c:v>
                </c:pt>
                <c:pt idx="6">
                  <c:v>9.35</c:v>
                </c:pt>
                <c:pt idx="7">
                  <c:v>9.56</c:v>
                </c:pt>
                <c:pt idx="8">
                  <c:v>9.16</c:v>
                </c:pt>
                <c:pt idx="9">
                  <c:v>9.86</c:v>
                </c:pt>
                <c:pt idx="10">
                  <c:v>9.55</c:v>
                </c:pt>
                <c:pt idx="11">
                  <c:v>9.33</c:v>
                </c:pt>
                <c:pt idx="12">
                  <c:v>9.67</c:v>
                </c:pt>
                <c:pt idx="13">
                  <c:v>9.49</c:v>
                </c:pt>
                <c:pt idx="14">
                  <c:v>9.82</c:v>
                </c:pt>
                <c:pt idx="15">
                  <c:v>9.17</c:v>
                </c:pt>
                <c:pt idx="16">
                  <c:v>9.67</c:v>
                </c:pt>
                <c:pt idx="17">
                  <c:v>9.93</c:v>
                </c:pt>
                <c:pt idx="18">
                  <c:v>9.45</c:v>
                </c:pt>
                <c:pt idx="19">
                  <c:v>8.72</c:v>
                </c:pt>
                <c:pt idx="20">
                  <c:v>9.04</c:v>
                </c:pt>
                <c:pt idx="21">
                  <c:v>10.53</c:v>
                </c:pt>
                <c:pt idx="22">
                  <c:v>10.25</c:v>
                </c:pt>
                <c:pt idx="23">
                  <c:v>10.31</c:v>
                </c:pt>
                <c:pt idx="24">
                  <c:v>10.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639323743194072</c:v>
                </c:pt>
                <c:pt idx="2">
                  <c:v>1.1632171370841566</c:v>
                </c:pt>
                <c:pt idx="3">
                  <c:v>1.204361159041939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21.0</c:v>
                </c:pt>
                <c:pt idx="2">
                  <c:v>125.0</c:v>
                </c:pt>
                <c:pt idx="3">
                  <c:v>122.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4.0</c:v>
                </c:pt>
                <c:pt idx="2">
                  <c:v>125.0</c:v>
                </c:pt>
                <c:pt idx="3">
                  <c:v>12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sa Azzurr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20.0</c:v>
                </c:pt>
                <c:pt idx="2">
                  <c:v>110.0</c:v>
                </c:pt>
                <c:pt idx="3">
                  <c:v>11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3.0</c:v>
                </c:pt>
                <c:pt idx="2">
                  <c:v>112.0</c:v>
                </c:pt>
                <c:pt idx="3">
                  <c:v>1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8.0</c:v>
                </c:pt>
                <c:pt idx="2">
                  <c:v>119.0</c:v>
                </c:pt>
                <c:pt idx="3">
                  <c:v>122.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4.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Top Companies,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81.0</c:v>
                </c:pt>
                <c:pt idx="2">
                  <c:v>68.0</c:v>
                </c:pt>
                <c:pt idx="3">
                  <c:v>7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3.0</c:v>
                </c:pt>
                <c:pt idx="2">
                  <c:v>84.0</c:v>
                </c:pt>
                <c:pt idx="3">
                  <c:v>8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Casa Azzurr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0.0</c:v>
                </c:pt>
                <c:pt idx="2">
                  <c:v>110.0</c:v>
                </c:pt>
                <c:pt idx="3">
                  <c:v>11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77.0</c:v>
                </c:pt>
                <c:pt idx="2">
                  <c:v>74.0</c:v>
                </c:pt>
                <c:pt idx="3">
                  <c:v>5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0.0</c:v>
                </c:pt>
                <c:pt idx="2">
                  <c:v>112.0</c:v>
                </c:pt>
                <c:pt idx="3">
                  <c:v>10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0.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Top Companies,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375928827781427</c:v>
                </c:pt>
                <c:pt idx="2">
                  <c:v>1.1623515139260983</c:v>
                </c:pt>
                <c:pt idx="3">
                  <c:v>1.223636455542637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Savencia</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23.0</c:v>
                </c:pt>
                <c:pt idx="2">
                  <c:v>130.0</c:v>
                </c:pt>
                <c:pt idx="3">
                  <c:v>12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ctal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3.0</c:v>
                </c:pt>
                <c:pt idx="2">
                  <c:v>125.0</c:v>
                </c:pt>
                <c:pt idx="3">
                  <c:v>13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Casa Azzurra</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1.0</c:v>
                </c:pt>
                <c:pt idx="2">
                  <c:v>120.0</c:v>
                </c:pt>
                <c:pt idx="3">
                  <c:v>12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Bel</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22.0</c:v>
                </c:pt>
                <c:pt idx="2">
                  <c:v>121.0</c:v>
                </c:pt>
                <c:pt idx="3">
                  <c:v>128.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Mdd</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1.0</c:v>
                </c:pt>
                <c:pt idx="2">
                  <c:v>113.0</c:v>
                </c:pt>
                <c:pt idx="3">
                  <c:v>11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0.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0.0</c:v>
                </c:pt>
                <c:pt idx="2">
                  <c:v>87.0</c:v>
                </c:pt>
                <c:pt idx="3">
                  <c:v>141.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2.0</c:v>
                </c:pt>
                <c:pt idx="2">
                  <c:v>98.0</c:v>
                </c:pt>
                <c:pt idx="3">
                  <c:v>17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ntremon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7.0</c:v>
                </c:pt>
                <c:pt idx="2">
                  <c:v>97.0</c:v>
                </c:pt>
                <c:pt idx="3">
                  <c:v>39.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01.0</c:v>
                </c:pt>
                <c:pt idx="2">
                  <c:v>100.0</c:v>
                </c:pt>
                <c:pt idx="3">
                  <c:v>9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Kiri</c:v>
                </c:pt>
              </c:strCache>
            </c:strRef>
          </c:tx>
          <c:spPr>
            <a:ln w="19050" cap="rnd">
              <a:solidFill>
                <a:srgbClr val="00A097"/>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1.0</c:v>
                </c:pt>
                <c:pt idx="2">
                  <c:v>107.0</c:v>
                </c:pt>
                <c:pt idx="3">
                  <c:v>205.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Caprice Des Dieux</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93.0</c:v>
                </c:pt>
                <c:pt idx="2">
                  <c:v>92.0</c:v>
                </c:pt>
                <c:pt idx="3">
                  <c:v>169.0</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I$2:$I$5</c:f>
              <c:numCache>
                <c:formatCode>General</c:formatCode>
                <c:ptCount val="4"/>
                <c:pt idx="0">
                  <c:v>100.0</c:v>
                </c:pt>
                <c:pt idx="1">
                  <c:v>104.0</c:v>
                </c:pt>
                <c:pt idx="2">
                  <c:v>106.0</c:v>
                </c:pt>
                <c:pt idx="3">
                  <c:v>88.0</c:v>
                </c:pt>
              </c:numCache>
            </c:numRef>
          </c:val>
          <c:smooth val="0"/>
          <c:extLst>
            <c:ext xmlns:c16="http://schemas.microsoft.com/office/drawing/2014/chart" uri="{C3380CC4-5D6E-409C-BE32-E72D297353CC}">
              <c16:uniqueId val="{00000007-0907-1A4C-A11F-73C2425749BA}"/>
            </c:ext>
          </c:extLst>
        </c:ser>
        <c:ser>
          <c:idx val="11"/>
          <c:order val="8"/>
          <c:tx>
            <c:strRef>
              <c:f>Sheet1!$J$1</c:f>
              <c:strCache>
                <c:ptCount val="1"/>
                <c:pt idx="0">
                  <c:v>Soignon</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J$2:$J$5</c:f>
              <c:numCache>
                <c:formatCode>General</c:formatCode>
                <c:ptCount val="4"/>
                <c:pt idx="0">
                  <c:v>100.0</c:v>
                </c:pt>
                <c:pt idx="1">
                  <c:v>94.0</c:v>
                </c:pt>
                <c:pt idx="2">
                  <c:v>87.0</c:v>
                </c:pt>
                <c:pt idx="3">
                  <c:v>13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46.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278796335144947</c:v>
                </c:pt>
                <c:pt idx="2">
                  <c:v>1.127811332168958</c:v>
                </c:pt>
                <c:pt idx="3">
                  <c:v>1.118258901128923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4.0</c:v>
                </c:pt>
                <c:pt idx="2">
                  <c:v>113.0</c:v>
                </c:pt>
                <c:pt idx="3">
                  <c:v>11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3.0</c:v>
                </c:pt>
                <c:pt idx="2">
                  <c:v>121.0</c:v>
                </c:pt>
                <c:pt idx="3">
                  <c:v>12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ntremon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4.0</c:v>
                </c:pt>
                <c:pt idx="2">
                  <c:v>117.0</c:v>
                </c:pt>
                <c:pt idx="3">
                  <c:v>11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3.0</c:v>
                </c:pt>
                <c:pt idx="2">
                  <c:v>113.0</c:v>
                </c:pt>
                <c:pt idx="3">
                  <c:v>10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Kiri</c:v>
                </c:pt>
              </c:strCache>
            </c:strRef>
          </c:tx>
          <c:spPr>
            <a:ln w="19050" cap="rnd">
              <a:solidFill>
                <a:srgbClr val="00A097"/>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6.0</c:v>
                </c:pt>
                <c:pt idx="2">
                  <c:v>120.0</c:v>
                </c:pt>
                <c:pt idx="3">
                  <c:v>117.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Caprice Des Dieux</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109.0</c:v>
                </c:pt>
                <c:pt idx="2">
                  <c:v>112.0</c:v>
                </c:pt>
                <c:pt idx="3">
                  <c:v>113.0</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I$2:$I$5</c:f>
              <c:numCache>
                <c:formatCode>General</c:formatCode>
                <c:ptCount val="4"/>
                <c:pt idx="0">
                  <c:v>100.0</c:v>
                </c:pt>
                <c:pt idx="1">
                  <c:v>113.0</c:v>
                </c:pt>
                <c:pt idx="2">
                  <c:v>113.0</c:v>
                </c:pt>
                <c:pt idx="3">
                  <c:v>109.0</c:v>
                </c:pt>
              </c:numCache>
            </c:numRef>
          </c:val>
          <c:smooth val="0"/>
          <c:extLst>
            <c:ext xmlns:c16="http://schemas.microsoft.com/office/drawing/2014/chart" uri="{C3380CC4-5D6E-409C-BE32-E72D297353CC}">
              <c16:uniqueId val="{00000003-F160-FB4E-B9E2-3D36233077E3}"/>
            </c:ext>
          </c:extLst>
        </c:ser>
        <c:ser>
          <c:idx val="11"/>
          <c:order val="8"/>
          <c:tx>
            <c:strRef>
              <c:f>Sheet1!$J$1</c:f>
              <c:strCache>
                <c:ptCount val="1"/>
                <c:pt idx="0">
                  <c:v>Soignon</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J$2:$J$5</c:f>
              <c:numCache>
                <c:formatCode>General</c:formatCode>
                <c:ptCount val="4"/>
                <c:pt idx="0">
                  <c:v>100.0</c:v>
                </c:pt>
                <c:pt idx="1">
                  <c:v>113.0</c:v>
                </c:pt>
                <c:pt idx="2">
                  <c:v>113.0</c:v>
                </c:pt>
                <c:pt idx="3">
                  <c:v>10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4.0</c:v>
                </c:pt>
                <c:pt idx="2">
                  <c:v>92.0</c:v>
                </c:pt>
                <c:pt idx="3">
                  <c:v>18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1.0</c:v>
                </c:pt>
                <c:pt idx="2">
                  <c:v>105.0</c:v>
                </c:pt>
                <c:pt idx="3">
                  <c:v>18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ntremon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2.0</c:v>
                </c:pt>
                <c:pt idx="2">
                  <c:v>86.0</c:v>
                </c:pt>
                <c:pt idx="3">
                  <c:v>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8.0</c:v>
                </c:pt>
                <c:pt idx="2">
                  <c:v>96.0</c:v>
                </c:pt>
                <c:pt idx="3">
                  <c:v>7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ivate Labe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8.0</c:v>
                </c:pt>
                <c:pt idx="2">
                  <c:v>108.0</c:v>
                </c:pt>
                <c:pt idx="3">
                  <c:v>79.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Kiri</c:v>
                </c:pt>
              </c:strCache>
            </c:strRef>
          </c:tx>
          <c:spPr>
            <a:ln w="19050" cap="rnd">
              <a:solidFill>
                <a:srgbClr val="00A097"/>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97.0</c:v>
                </c:pt>
                <c:pt idx="2">
                  <c:v>103.0</c:v>
                </c:pt>
                <c:pt idx="3">
                  <c:v>223.0</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oign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I$2:$I$5</c:f>
              <c:numCache>
                <c:formatCode>General</c:formatCode>
                <c:ptCount val="4"/>
                <c:pt idx="0">
                  <c:v>100.0</c:v>
                </c:pt>
                <c:pt idx="1">
                  <c:v>92.0</c:v>
                </c:pt>
                <c:pt idx="2">
                  <c:v>87.0</c:v>
                </c:pt>
                <c:pt idx="3">
                  <c:v>157.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67.59999999999997"/>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511807957274387</c:v>
                </c:pt>
                <c:pt idx="2">
                  <c:v>1.150049605474219</c:v>
                </c:pt>
                <c:pt idx="3">
                  <c:v>1.1448294406171478</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5.0</c:v>
                </c:pt>
                <c:pt idx="2">
                  <c:v>115.0</c:v>
                </c:pt>
                <c:pt idx="3">
                  <c:v>11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2.0</c:v>
                </c:pt>
                <c:pt idx="2">
                  <c:v>122.0</c:v>
                </c:pt>
                <c:pt idx="3">
                  <c:v>12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ntremon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6.0</c:v>
                </c:pt>
                <c:pt idx="2">
                  <c:v>118.0</c:v>
                </c:pt>
                <c:pt idx="3">
                  <c:v>118.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6.0</c:v>
                </c:pt>
                <c:pt idx="2">
                  <c:v>116.0</c:v>
                </c:pt>
                <c:pt idx="3">
                  <c:v>102.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ivate Labe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7.0</c:v>
                </c:pt>
                <c:pt idx="2">
                  <c:v>116.0</c:v>
                </c:pt>
                <c:pt idx="3">
                  <c:v>113.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Kiri</c:v>
                </c:pt>
              </c:strCache>
            </c:strRef>
          </c:tx>
          <c:spPr>
            <a:ln w="19050" cap="rnd">
              <a:solidFill>
                <a:srgbClr val="00A097"/>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114.0</c:v>
                </c:pt>
                <c:pt idx="2">
                  <c:v>118.0</c:v>
                </c:pt>
                <c:pt idx="3">
                  <c:v>115.0</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oign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I$2:$I$5</c:f>
              <c:numCache>
                <c:formatCode>General</c:formatCode>
                <c:ptCount val="4"/>
                <c:pt idx="0">
                  <c:v>100.0</c:v>
                </c:pt>
                <c:pt idx="1">
                  <c:v>116.0</c:v>
                </c:pt>
                <c:pt idx="2">
                  <c:v>117.0</c:v>
                </c:pt>
                <c:pt idx="3">
                  <c:v>110.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0.0</c:v>
                </c:pt>
                <c:pt idx="2">
                  <c:v>88.0</c:v>
                </c:pt>
                <c:pt idx="3">
                  <c:v>8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84.0</c:v>
                </c:pt>
                <c:pt idx="2">
                  <c:v>89.0</c:v>
                </c:pt>
                <c:pt idx="3">
                  <c:v>97.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Entremon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9.0</c:v>
                </c:pt>
                <c:pt idx="2">
                  <c:v>101.0</c:v>
                </c:pt>
                <c:pt idx="3">
                  <c:v>9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06.0</c:v>
                </c:pt>
                <c:pt idx="2">
                  <c:v>107.0</c:v>
                </c:pt>
                <c:pt idx="3">
                  <c:v>1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Private Labe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6.0</c:v>
                </c:pt>
                <c:pt idx="2">
                  <c:v>109.0</c:v>
                </c:pt>
                <c:pt idx="3">
                  <c:v>107.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Kiri</c:v>
                </c:pt>
              </c:strCache>
            </c:strRef>
          </c:tx>
          <c:spPr>
            <a:ln w="19050" cap="rnd">
              <a:solidFill>
                <a:srgbClr val="00A097"/>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98.0</c:v>
                </c:pt>
                <c:pt idx="2">
                  <c:v>103.0</c:v>
                </c:pt>
                <c:pt idx="3">
                  <c:v>113.0</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Soign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I$2:$I$5</c:f>
              <c:numCache>
                <c:formatCode>General</c:formatCode>
                <c:ptCount val="4"/>
                <c:pt idx="0">
                  <c:v>100.0</c:v>
                </c:pt>
                <c:pt idx="1">
                  <c:v>91.0</c:v>
                </c:pt>
                <c:pt idx="2">
                  <c:v>84.0</c:v>
                </c:pt>
                <c:pt idx="3">
                  <c:v>77.0</c:v>
                </c:pt>
              </c:numCache>
            </c:numRef>
          </c:val>
          <c:smooth val="0"/>
          <c:extLst>
            <c:ext xmlns:c16="http://schemas.microsoft.com/office/drawing/2014/chart" uri="{C3380CC4-5D6E-409C-BE32-E72D297353CC}">
              <c16:uniqueId val="{00000007-0907-1A4C-A11F-73C2425749BA}"/>
            </c:ext>
          </c:extLst>
        </c:ser>
        <c:ser>
          <c:idx val="11"/>
          <c:order val="8"/>
          <c:tx>
            <c:strRef>
              <c:f>Sheet1!$J$1</c:f>
              <c:strCache>
                <c:ptCount val="1"/>
                <c:pt idx="0">
                  <c:v>Leerdamm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J$2:$J$5</c:f>
              <c:numCache>
                <c:formatCode>General</c:formatCode>
                <c:ptCount val="4"/>
                <c:pt idx="0">
                  <c:v>100.0</c:v>
                </c:pt>
                <c:pt idx="1">
                  <c:v>100.0</c:v>
                </c:pt>
                <c:pt idx="2">
                  <c:v>91.0</c:v>
                </c:pt>
                <c:pt idx="3">
                  <c:v>8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5.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233288103124877</c:v>
                </c:pt>
                <c:pt idx="2">
                  <c:v>1.1271500977770683</c:v>
                </c:pt>
                <c:pt idx="3">
                  <c:v>1.1408488645887376</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5.0</c:v>
                </c:pt>
                <c:pt idx="2">
                  <c:v>114.0</c:v>
                </c:pt>
                <c:pt idx="3">
                  <c:v>11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30.0</c:v>
                </c:pt>
                <c:pt idx="2">
                  <c:v>124.0</c:v>
                </c:pt>
                <c:pt idx="3">
                  <c:v>13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Entremon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6.0</c:v>
                </c:pt>
                <c:pt idx="2">
                  <c:v>120.0</c:v>
                </c:pt>
                <c:pt idx="3">
                  <c:v>11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2.0</c:v>
                </c:pt>
                <c:pt idx="2">
                  <c:v>111.0</c:v>
                </c:pt>
                <c:pt idx="3">
                  <c:v>11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Private Labe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2.0</c:v>
                </c:pt>
                <c:pt idx="2">
                  <c:v>112.0</c:v>
                </c:pt>
                <c:pt idx="3">
                  <c:v>113.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Kiri</c:v>
                </c:pt>
              </c:strCache>
            </c:strRef>
          </c:tx>
          <c:spPr>
            <a:ln w="19050" cap="rnd">
              <a:solidFill>
                <a:srgbClr val="00A097"/>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117.0</c:v>
                </c:pt>
                <c:pt idx="2">
                  <c:v>123.0</c:v>
                </c:pt>
                <c:pt idx="3">
                  <c:v>120.0</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Soigno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I$2:$I$5</c:f>
              <c:numCache>
                <c:formatCode>General</c:formatCode>
                <c:ptCount val="4"/>
                <c:pt idx="0">
                  <c:v>100.0</c:v>
                </c:pt>
                <c:pt idx="1">
                  <c:v>113.0</c:v>
                </c:pt>
                <c:pt idx="2">
                  <c:v>112.0</c:v>
                </c:pt>
                <c:pt idx="3">
                  <c:v>110.0</c:v>
                </c:pt>
              </c:numCache>
            </c:numRef>
          </c:val>
          <c:smooth val="0"/>
          <c:extLst>
            <c:ext xmlns:c16="http://schemas.microsoft.com/office/drawing/2014/chart" uri="{C3380CC4-5D6E-409C-BE32-E72D297353CC}">
              <c16:uniqueId val="{00000003-F160-FB4E-B9E2-3D36233077E3}"/>
            </c:ext>
          </c:extLst>
        </c:ser>
        <c:ser>
          <c:idx val="11"/>
          <c:order val="8"/>
          <c:tx>
            <c:strRef>
              <c:f>Sheet1!$J$1</c:f>
              <c:strCache>
                <c:ptCount val="1"/>
                <c:pt idx="0">
                  <c:v>Leerdammer</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J$2:$J$5</c:f>
              <c:numCache>
                <c:formatCode>General</c:formatCode>
                <c:ptCount val="4"/>
                <c:pt idx="0">
                  <c:v>100.0</c:v>
                </c:pt>
                <c:pt idx="1">
                  <c:v>132.0</c:v>
                </c:pt>
                <c:pt idx="2">
                  <c:v>124.0</c:v>
                </c:pt>
                <c:pt idx="3">
                  <c:v>12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8.4"/>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3.0</c:v>
                </c:pt>
                <c:pt idx="2">
                  <c:v>90.0</c:v>
                </c:pt>
                <c:pt idx="3">
                  <c:v>79.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6.0</c:v>
                </c:pt>
                <c:pt idx="2">
                  <c:v>102.0</c:v>
                </c:pt>
                <c:pt idx="3">
                  <c:v>10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t More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8.0</c:v>
                </c:pt>
                <c:pt idx="2">
                  <c:v>101.0</c:v>
                </c:pt>
                <c:pt idx="3">
                  <c:v>10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00.0</c:v>
                </c:pt>
                <c:pt idx="2">
                  <c:v>99.0</c:v>
                </c:pt>
                <c:pt idx="3">
                  <c:v>9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Kiri</c:v>
                </c:pt>
              </c:strCache>
            </c:strRef>
          </c:tx>
          <c:spPr>
            <a:ln w="19050" cap="rnd">
              <a:solidFill>
                <a:srgbClr val="00A097"/>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1.0</c:v>
                </c:pt>
                <c:pt idx="2">
                  <c:v>106.0</c:v>
                </c:pt>
                <c:pt idx="3">
                  <c:v>106.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Caprice Des Dieux</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93.0</c:v>
                </c:pt>
                <c:pt idx="2">
                  <c:v>91.0</c:v>
                </c:pt>
                <c:pt idx="3">
                  <c:v>87.0</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I$2:$I$5</c:f>
              <c:numCache>
                <c:formatCode>General</c:formatCode>
                <c:ptCount val="4"/>
                <c:pt idx="0">
                  <c:v>100.0</c:v>
                </c:pt>
                <c:pt idx="1">
                  <c:v>106.0</c:v>
                </c:pt>
                <c:pt idx="2">
                  <c:v>110.0</c:v>
                </c:pt>
                <c:pt idx="3">
                  <c:v>110.0</c:v>
                </c:pt>
              </c:numCache>
            </c:numRef>
          </c:val>
          <c:smooth val="0"/>
          <c:extLst>
            <c:ext xmlns:c16="http://schemas.microsoft.com/office/drawing/2014/chart" uri="{C3380CC4-5D6E-409C-BE32-E72D297353CC}">
              <c16:uniqueId val="{00000007-0907-1A4C-A11F-73C2425749BA}"/>
            </c:ext>
          </c:extLst>
        </c:ser>
        <c:ser>
          <c:idx val="11"/>
          <c:order val="8"/>
          <c:tx>
            <c:strRef>
              <c:f>Sheet1!$J$1</c:f>
              <c:strCache>
                <c:ptCount val="1"/>
                <c:pt idx="0">
                  <c:v>Soignon</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J$2:$J$5</c:f>
              <c:numCache>
                <c:formatCode>General</c:formatCode>
                <c:ptCount val="4"/>
                <c:pt idx="0">
                  <c:v>100.0</c:v>
                </c:pt>
                <c:pt idx="1">
                  <c:v>95.0</c:v>
                </c:pt>
                <c:pt idx="2">
                  <c:v>87.0</c:v>
                </c:pt>
                <c:pt idx="3">
                  <c:v>7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846,810</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693,90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932,79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1846810</c:v>
                </c:pt>
                <c:pt idx="1">
                  <c:v>1844496</c:v>
                </c:pt>
                <c:pt idx="2">
                  <c:v>1437814</c:v>
                </c:pt>
                <c:pt idx="3">
                  <c:v>1280453</c:v>
                </c:pt>
                <c:pt idx="4">
                  <c:v>1171221</c:v>
                </c:pt>
                <c:pt idx="5">
                  <c:v>2321765</c:v>
                </c:pt>
                <c:pt idx="6">
                  <c:v>1359775</c:v>
                </c:pt>
                <c:pt idx="7">
                  <c:v>1258321</c:v>
                </c:pt>
                <c:pt idx="8">
                  <c:v>1364654</c:v>
                </c:pt>
                <c:pt idx="9">
                  <c:v>1360137</c:v>
                </c:pt>
                <c:pt idx="10">
                  <c:v>1590071</c:v>
                </c:pt>
                <c:pt idx="11">
                  <c:v>1509760</c:v>
                </c:pt>
                <c:pt idx="12">
                  <c:v>1727982</c:v>
                </c:pt>
                <c:pt idx="13">
                  <c:v>1693909</c:v>
                </c:pt>
                <c:pt idx="14">
                  <c:v>1399282</c:v>
                </c:pt>
                <c:pt idx="15">
                  <c:v>1419380</c:v>
                </c:pt>
                <c:pt idx="16">
                  <c:v>1431201</c:v>
                </c:pt>
                <c:pt idx="17">
                  <c:v>2430413</c:v>
                </c:pt>
                <c:pt idx="18">
                  <c:v>1536288</c:v>
                </c:pt>
                <c:pt idx="19">
                  <c:v>1260659</c:v>
                </c:pt>
                <c:pt idx="20">
                  <c:v>1339574</c:v>
                </c:pt>
                <c:pt idx="21">
                  <c:v>1674005</c:v>
                </c:pt>
                <c:pt idx="22">
                  <c:v>1694682</c:v>
                </c:pt>
                <c:pt idx="23">
                  <c:v>1768840</c:v>
                </c:pt>
                <c:pt idx="24">
                  <c:v>193279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8.05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7.6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8.3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8.05</c:v>
                </c:pt>
                <c:pt idx="1">
                  <c:v>17.94</c:v>
                </c:pt>
                <c:pt idx="2">
                  <c:v>17.4</c:v>
                </c:pt>
                <c:pt idx="3">
                  <c:v>17.4</c:v>
                </c:pt>
                <c:pt idx="4">
                  <c:v>17.07</c:v>
                </c:pt>
                <c:pt idx="5">
                  <c:v>17.9</c:v>
                </c:pt>
                <c:pt idx="6">
                  <c:v>17.21</c:v>
                </c:pt>
                <c:pt idx="7">
                  <c:v>17.61</c:v>
                </c:pt>
                <c:pt idx="8">
                  <c:v>17.52</c:v>
                </c:pt>
                <c:pt idx="9">
                  <c:v>18.01</c:v>
                </c:pt>
                <c:pt idx="10">
                  <c:v>17.62</c:v>
                </c:pt>
                <c:pt idx="11">
                  <c:v>17.37</c:v>
                </c:pt>
                <c:pt idx="12">
                  <c:v>18.17</c:v>
                </c:pt>
                <c:pt idx="13">
                  <c:v>17.62</c:v>
                </c:pt>
                <c:pt idx="14">
                  <c:v>17.19</c:v>
                </c:pt>
                <c:pt idx="15">
                  <c:v>16.89</c:v>
                </c:pt>
                <c:pt idx="16">
                  <c:v>16.74</c:v>
                </c:pt>
                <c:pt idx="17">
                  <c:v>17.08</c:v>
                </c:pt>
                <c:pt idx="18">
                  <c:v>17.29</c:v>
                </c:pt>
                <c:pt idx="19">
                  <c:v>17.5</c:v>
                </c:pt>
                <c:pt idx="20">
                  <c:v>17.59</c:v>
                </c:pt>
                <c:pt idx="21">
                  <c:v>18.08</c:v>
                </c:pt>
                <c:pt idx="22">
                  <c:v>18.13</c:v>
                </c:pt>
                <c:pt idx="23">
                  <c:v>17.91</c:v>
                </c:pt>
                <c:pt idx="24">
                  <c:v>18.32</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166087729218839</c:v>
                </c:pt>
                <c:pt idx="2">
                  <c:v>1.1225765409160675</c:v>
                </c:pt>
                <c:pt idx="3">
                  <c:v>1.13710719767347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7.0</c:v>
                </c:pt>
                <c:pt idx="2">
                  <c:v>116.0</c:v>
                </c:pt>
                <c:pt idx="3">
                  <c:v>117.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0.0</c:v>
                </c:pt>
                <c:pt idx="2">
                  <c:v>118.0</c:v>
                </c:pt>
                <c:pt idx="3">
                  <c:v>11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t More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09.0</c:v>
                </c:pt>
                <c:pt idx="2">
                  <c:v>108.0</c:v>
                </c:pt>
                <c:pt idx="3">
                  <c:v>10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2.0</c:v>
                </c:pt>
                <c:pt idx="2">
                  <c:v>113.0</c:v>
                </c:pt>
                <c:pt idx="3">
                  <c:v>11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Kiri</c:v>
                </c:pt>
              </c:strCache>
            </c:strRef>
          </c:tx>
          <c:spPr>
            <a:ln w="19050" cap="rnd">
              <a:solidFill>
                <a:srgbClr val="00A097"/>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6.0</c:v>
                </c:pt>
                <c:pt idx="2">
                  <c:v>120.0</c:v>
                </c:pt>
                <c:pt idx="3">
                  <c:v>117.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Caprice Des Dieux</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109.0</c:v>
                </c:pt>
                <c:pt idx="2">
                  <c:v>112.0</c:v>
                </c:pt>
                <c:pt idx="3">
                  <c:v>113.0</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I$2:$I$5</c:f>
              <c:numCache>
                <c:formatCode>General</c:formatCode>
                <c:ptCount val="4"/>
                <c:pt idx="0">
                  <c:v>100.0</c:v>
                </c:pt>
                <c:pt idx="1">
                  <c:v>111.0</c:v>
                </c:pt>
                <c:pt idx="2">
                  <c:v>113.0</c:v>
                </c:pt>
                <c:pt idx="3">
                  <c:v>115.0</c:v>
                </c:pt>
              </c:numCache>
            </c:numRef>
          </c:val>
          <c:smooth val="0"/>
          <c:extLst>
            <c:ext xmlns:c16="http://schemas.microsoft.com/office/drawing/2014/chart" uri="{C3380CC4-5D6E-409C-BE32-E72D297353CC}">
              <c16:uniqueId val="{00000003-F160-FB4E-B9E2-3D36233077E3}"/>
            </c:ext>
          </c:extLst>
        </c:ser>
        <c:ser>
          <c:idx val="11"/>
          <c:order val="8"/>
          <c:tx>
            <c:strRef>
              <c:f>Sheet1!$J$1</c:f>
              <c:strCache>
                <c:ptCount val="1"/>
                <c:pt idx="0">
                  <c:v>Soignon</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J$2:$J$5</c:f>
              <c:numCache>
                <c:formatCode>General</c:formatCode>
                <c:ptCount val="4"/>
                <c:pt idx="0">
                  <c:v>100.0</c:v>
                </c:pt>
                <c:pt idx="1">
                  <c:v>113.0</c:v>
                </c:pt>
                <c:pt idx="2">
                  <c:v>113.0</c:v>
                </c:pt>
                <c:pt idx="3">
                  <c:v>113.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9.0</c:v>
                </c:pt>
                <c:pt idx="2">
                  <c:v>95.0</c:v>
                </c:pt>
                <c:pt idx="3">
                  <c:v>94.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9.0</c:v>
                </c:pt>
                <c:pt idx="2">
                  <c:v>104.0</c:v>
                </c:pt>
                <c:pt idx="3">
                  <c:v>98.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o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2.0</c:v>
                </c:pt>
                <c:pt idx="2">
                  <c:v>85.0</c:v>
                </c:pt>
                <c:pt idx="3">
                  <c:v>81.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9.0</c:v>
                </c:pt>
                <c:pt idx="2">
                  <c:v>98.0</c:v>
                </c:pt>
                <c:pt idx="3">
                  <c:v>9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Kiri</c:v>
                </c:pt>
              </c:strCache>
            </c:strRef>
          </c:tx>
          <c:spPr>
            <a:ln w="19050" cap="rnd">
              <a:solidFill>
                <a:srgbClr val="00A097"/>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97.0</c:v>
                </c:pt>
                <c:pt idx="2">
                  <c:v>102.0</c:v>
                </c:pt>
                <c:pt idx="3">
                  <c:v>102.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Caprice Des Dieux</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92.0</c:v>
                </c:pt>
                <c:pt idx="2">
                  <c:v>90.0</c:v>
                </c:pt>
                <c:pt idx="3">
                  <c:v>90.0</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I$2:$I$5</c:f>
              <c:numCache>
                <c:formatCode>General</c:formatCode>
                <c:ptCount val="4"/>
                <c:pt idx="0">
                  <c:v>100.0</c:v>
                </c:pt>
                <c:pt idx="1">
                  <c:v>110.0</c:v>
                </c:pt>
                <c:pt idx="2">
                  <c:v>114.0</c:v>
                </c:pt>
                <c:pt idx="3">
                  <c:v>111.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438095694238228</c:v>
                </c:pt>
                <c:pt idx="2">
                  <c:v>1.1439628334690357</c:v>
                </c:pt>
                <c:pt idx="3">
                  <c:v>1.157248910388428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9.0</c:v>
                </c:pt>
                <c:pt idx="2">
                  <c:v>119.0</c:v>
                </c:pt>
                <c:pt idx="3">
                  <c:v>119.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1.0</c:v>
                </c:pt>
                <c:pt idx="2">
                  <c:v>120.0</c:v>
                </c:pt>
                <c:pt idx="3">
                  <c:v>120.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oignon</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6.0</c:v>
                </c:pt>
                <c:pt idx="2">
                  <c:v>116.0</c:v>
                </c:pt>
                <c:pt idx="3">
                  <c:v>116.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4.0</c:v>
                </c:pt>
                <c:pt idx="2">
                  <c:v>114.0</c:v>
                </c:pt>
                <c:pt idx="3">
                  <c:v>11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Kiri</c:v>
                </c:pt>
              </c:strCache>
            </c:strRef>
          </c:tx>
          <c:spPr>
            <a:ln w="19050" cap="rnd">
              <a:solidFill>
                <a:srgbClr val="00A097"/>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4.0</c:v>
                </c:pt>
                <c:pt idx="2">
                  <c:v>118.0</c:v>
                </c:pt>
                <c:pt idx="3">
                  <c:v>115.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Caprice Des Dieux</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111.0</c:v>
                </c:pt>
                <c:pt idx="2">
                  <c:v>117.0</c:v>
                </c:pt>
                <c:pt idx="3">
                  <c:v>115.0</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I$2:$I$5</c:f>
              <c:numCache>
                <c:formatCode>General</c:formatCode>
                <c:ptCount val="4"/>
                <c:pt idx="0">
                  <c:v>100.0</c:v>
                </c:pt>
                <c:pt idx="1">
                  <c:v>115.0</c:v>
                </c:pt>
                <c:pt idx="2">
                  <c:v>115.0</c:v>
                </c:pt>
                <c:pt idx="3">
                  <c:v>117.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1.0</c:v>
                </c:pt>
                <c:pt idx="2">
                  <c:v>94.0</c:v>
                </c:pt>
                <c:pt idx="3">
                  <c:v>85.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0.0</c:v>
                </c:pt>
                <c:pt idx="2">
                  <c:v>108.0</c:v>
                </c:pt>
                <c:pt idx="3">
                  <c:v>11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St More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7.0</c:v>
                </c:pt>
                <c:pt idx="2">
                  <c:v>104.0</c:v>
                </c:pt>
                <c:pt idx="3">
                  <c:v>120.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01.0</c:v>
                </c:pt>
                <c:pt idx="2">
                  <c:v>108.0</c:v>
                </c:pt>
                <c:pt idx="3">
                  <c:v>10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Kiri</c:v>
                </c:pt>
              </c:strCache>
            </c:strRef>
          </c:tx>
          <c:spPr>
            <a:ln w="19050" cap="rnd">
              <a:solidFill>
                <a:srgbClr val="00A097"/>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98.0</c:v>
                </c:pt>
                <c:pt idx="2">
                  <c:v>104.0</c:v>
                </c:pt>
                <c:pt idx="3">
                  <c:v>108.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Caprice Des Dieux</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93.0</c:v>
                </c:pt>
                <c:pt idx="2">
                  <c:v>90.0</c:v>
                </c:pt>
                <c:pt idx="3">
                  <c:v>86.0</c:v>
                </c:pt>
              </c:numCache>
            </c:numRef>
          </c:val>
          <c:smooth val="0"/>
          <c:extLst>
            <c:ext xmlns:c16="http://schemas.microsoft.com/office/drawing/2014/chart" uri="{C3380CC4-5D6E-409C-BE32-E72D297353CC}">
              <c16:uniqueId val="{00000007-0907-1A4C-A11F-73C2425749BA}"/>
            </c:ext>
          </c:extLst>
        </c:ser>
        <c:ser>
          <c:idx val="10"/>
          <c:order val="7"/>
          <c:tx>
            <c:strRef>
              <c:f>Sheet1!$I$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I$2:$I$5</c:f>
              <c:numCache>
                <c:formatCode>General</c:formatCode>
                <c:ptCount val="4"/>
                <c:pt idx="0">
                  <c:v>100.0</c:v>
                </c:pt>
                <c:pt idx="1">
                  <c:v>110.0</c:v>
                </c:pt>
                <c:pt idx="2">
                  <c:v>114.0</c:v>
                </c:pt>
                <c:pt idx="3">
                  <c:v>113.0</c:v>
                </c:pt>
              </c:numCache>
            </c:numRef>
          </c:val>
          <c:smooth val="0"/>
          <c:extLst>
            <c:ext xmlns:c16="http://schemas.microsoft.com/office/drawing/2014/chart" uri="{C3380CC4-5D6E-409C-BE32-E72D297353CC}">
              <c16:uniqueId val="{00000007-0907-1A4C-A11F-73C2425749BA}"/>
            </c:ext>
          </c:extLst>
        </c:ser>
        <c:ser>
          <c:idx val="11"/>
          <c:order val="8"/>
          <c:tx>
            <c:strRef>
              <c:f>Sheet1!$J$1</c:f>
              <c:strCache>
                <c:ptCount val="1"/>
                <c:pt idx="0">
                  <c:v>Soignon</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J$2:$J$5</c:f>
              <c:numCache>
                <c:formatCode>General</c:formatCode>
                <c:ptCount val="4"/>
                <c:pt idx="0">
                  <c:v>100.0</c:v>
                </c:pt>
                <c:pt idx="1">
                  <c:v>93.0</c:v>
                </c:pt>
                <c:pt idx="2">
                  <c:v>86.0</c:v>
                </c:pt>
                <c:pt idx="3">
                  <c:v>75.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152917443530888</c:v>
                </c:pt>
                <c:pt idx="2">
                  <c:v>1.1297490601216493</c:v>
                </c:pt>
                <c:pt idx="3">
                  <c:v>1.157329013458854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6.0</c:v>
                </c:pt>
                <c:pt idx="2">
                  <c:v>117.0</c:v>
                </c:pt>
                <c:pt idx="3">
                  <c:v>121.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1.0</c:v>
                </c:pt>
                <c:pt idx="2">
                  <c:v>116.0</c:v>
                </c:pt>
                <c:pt idx="3">
                  <c:v>122.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St More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0.0</c:v>
                </c:pt>
                <c:pt idx="2">
                  <c:v>108.0</c:v>
                </c:pt>
                <c:pt idx="3">
                  <c:v>109.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2.0</c:v>
                </c:pt>
                <c:pt idx="2">
                  <c:v>113.0</c:v>
                </c:pt>
                <c:pt idx="3">
                  <c:v>111.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Kiri</c:v>
                </c:pt>
              </c:strCache>
            </c:strRef>
          </c:tx>
          <c:spPr>
            <a:ln w="19050" cap="rnd">
              <a:solidFill>
                <a:srgbClr val="00A097"/>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7.0</c:v>
                </c:pt>
                <c:pt idx="2">
                  <c:v>123.0</c:v>
                </c:pt>
                <c:pt idx="3">
                  <c:v>120.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Caprice Des Dieux</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108.0</c:v>
                </c:pt>
                <c:pt idx="2">
                  <c:v>111.0</c:v>
                </c:pt>
                <c:pt idx="3">
                  <c:v>113.0</c:v>
                </c:pt>
              </c:numCache>
            </c:numRef>
          </c:val>
          <c:smooth val="0"/>
          <c:extLst>
            <c:ext xmlns:c16="http://schemas.microsoft.com/office/drawing/2014/chart" uri="{C3380CC4-5D6E-409C-BE32-E72D297353CC}">
              <c16:uniqueId val="{00000003-F160-FB4E-B9E2-3D36233077E3}"/>
            </c:ext>
          </c:extLst>
        </c:ser>
        <c:ser>
          <c:idx val="10"/>
          <c:order val="7"/>
          <c:tx>
            <c:strRef>
              <c:f>Sheet1!$I$1</c:f>
              <c:strCache>
                <c:ptCount val="1"/>
                <c:pt idx="0">
                  <c:v>Private Label</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I$2:$I$5</c:f>
              <c:numCache>
                <c:formatCode>General</c:formatCode>
                <c:ptCount val="4"/>
                <c:pt idx="0">
                  <c:v>100.0</c:v>
                </c:pt>
                <c:pt idx="1">
                  <c:v>109.0</c:v>
                </c:pt>
                <c:pt idx="2">
                  <c:v>112.0</c:v>
                </c:pt>
                <c:pt idx="3">
                  <c:v>115.0</c:v>
                </c:pt>
              </c:numCache>
            </c:numRef>
          </c:val>
          <c:smooth val="0"/>
          <c:extLst>
            <c:ext xmlns:c16="http://schemas.microsoft.com/office/drawing/2014/chart" uri="{C3380CC4-5D6E-409C-BE32-E72D297353CC}">
              <c16:uniqueId val="{00000003-F160-FB4E-B9E2-3D36233077E3}"/>
            </c:ext>
          </c:extLst>
        </c:ser>
        <c:ser>
          <c:idx val="11"/>
          <c:order val="8"/>
          <c:tx>
            <c:strRef>
              <c:f>Sheet1!$J$1</c:f>
              <c:strCache>
                <c:ptCount val="1"/>
                <c:pt idx="0">
                  <c:v>Soignon</c:v>
                </c:pt>
              </c:strCache>
            </c:strRef>
          </c:tx>
          <c:spPr>
            <a:ln w="19050" cap="rnd">
              <a:solidFill>
                <a:srgbClr val="575555"/>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J$2:$J$5</c:f>
              <c:numCache>
                <c:formatCode>General</c:formatCode>
                <c:ptCount val="4"/>
                <c:pt idx="0">
                  <c:v>100.0</c:v>
                </c:pt>
                <c:pt idx="1">
                  <c:v>113.0</c:v>
                </c:pt>
                <c:pt idx="2">
                  <c:v>113.0</c:v>
                </c:pt>
                <c:pt idx="3">
                  <c:v>1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4.0</c:v>
                </c:pt>
                <c:pt idx="2">
                  <c:v>89.0</c:v>
                </c:pt>
                <c:pt idx="3">
                  <c:v>8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St More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0.0</c:v>
                </c:pt>
                <c:pt idx="2">
                  <c:v>96.0</c:v>
                </c:pt>
                <c:pt idx="3">
                  <c:v>106.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Aperivra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08.0</c:v>
                </c:pt>
                <c:pt idx="2">
                  <c:v>95.0</c:v>
                </c:pt>
                <c:pt idx="3">
                  <c:v>102.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ivate Labe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08.0</c:v>
                </c:pt>
                <c:pt idx="2">
                  <c:v>136.0</c:v>
                </c:pt>
                <c:pt idx="3">
                  <c:v>144.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Apericub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99.0</c:v>
                </c:pt>
                <c:pt idx="2">
                  <c:v>101.0</c:v>
                </c:pt>
                <c:pt idx="3">
                  <c:v>9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72.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187841490768966</c:v>
                </c:pt>
                <c:pt idx="2">
                  <c:v>1.1208144015643873</c:v>
                </c:pt>
                <c:pt idx="3">
                  <c:v>1.12949329959164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0.0</c:v>
                </c:pt>
                <c:pt idx="2">
                  <c:v>114.0</c:v>
                </c:pt>
                <c:pt idx="3">
                  <c:v>116.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St More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8.0</c:v>
                </c:pt>
                <c:pt idx="2">
                  <c:v>121.0</c:v>
                </c:pt>
                <c:pt idx="3">
                  <c:v>123.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Aperivra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1.0</c:v>
                </c:pt>
                <c:pt idx="2">
                  <c:v>110.0</c:v>
                </c:pt>
                <c:pt idx="3">
                  <c:v>10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ivate Labe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28.0</c:v>
                </c:pt>
                <c:pt idx="2">
                  <c:v>127.0</c:v>
                </c:pt>
                <c:pt idx="3">
                  <c:v>12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Apericub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2.0</c:v>
                </c:pt>
                <c:pt idx="2">
                  <c:v>112.0</c:v>
                </c:pt>
                <c:pt idx="3">
                  <c:v>11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3.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89.0</c:v>
                </c:pt>
                <c:pt idx="2">
                  <c:v>93.0</c:v>
                </c:pt>
                <c:pt idx="3">
                  <c:v>9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St More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98.0</c:v>
                </c:pt>
                <c:pt idx="2">
                  <c:v>85.0</c:v>
                </c:pt>
                <c:pt idx="3">
                  <c:v>8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Aperivra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08.0</c:v>
                </c:pt>
                <c:pt idx="2">
                  <c:v>102.0</c:v>
                </c:pt>
                <c:pt idx="3">
                  <c:v>9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ivate Labe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3.0</c:v>
                </c:pt>
                <c:pt idx="2">
                  <c:v>98.0</c:v>
                </c:pt>
                <c:pt idx="3">
                  <c:v>86.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Apericub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2.0</c:v>
                </c:pt>
                <c:pt idx="2">
                  <c:v>104.0</c:v>
                </c:pt>
                <c:pt idx="3">
                  <c:v>10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2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53828009720188</c:v>
                </c:pt>
                <c:pt idx="2">
                  <c:v>1.1446069961217984</c:v>
                </c:pt>
                <c:pt idx="3">
                  <c:v>1.143493453135199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0.0</c:v>
                </c:pt>
                <c:pt idx="2">
                  <c:v>112.0</c:v>
                </c:pt>
                <c:pt idx="3">
                  <c:v>11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St More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0.0</c:v>
                </c:pt>
                <c:pt idx="2">
                  <c:v>116.0</c:v>
                </c:pt>
                <c:pt idx="3">
                  <c:v>119.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Aperivra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8.0</c:v>
                </c:pt>
                <c:pt idx="2">
                  <c:v>113.0</c:v>
                </c:pt>
                <c:pt idx="3">
                  <c:v>11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ivate Labe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33.0</c:v>
                </c:pt>
                <c:pt idx="2">
                  <c:v>140.0</c:v>
                </c:pt>
                <c:pt idx="3">
                  <c:v>146.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Apericub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6.0</c:v>
                </c:pt>
                <c:pt idx="2">
                  <c:v>116.0</c:v>
                </c:pt>
                <c:pt idx="3">
                  <c:v>11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75.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04.0</c:v>
                </c:pt>
                <c:pt idx="2">
                  <c:v>93.0</c:v>
                </c:pt>
                <c:pt idx="3">
                  <c:v>88.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St More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1.0</c:v>
                </c:pt>
                <c:pt idx="2">
                  <c:v>108.0</c:v>
                </c:pt>
                <c:pt idx="3">
                  <c:v>123.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Aperivra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02.0</c:v>
                </c:pt>
                <c:pt idx="2">
                  <c:v>82.0</c:v>
                </c:pt>
                <c:pt idx="3">
                  <c:v>98.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ivate Labe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2.0</c:v>
                </c:pt>
                <c:pt idx="2">
                  <c:v>104.0</c:v>
                </c:pt>
                <c:pt idx="3">
                  <c:v>110.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Apericub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0.0</c:v>
                </c:pt>
                <c:pt idx="2">
                  <c:v>106.0</c:v>
                </c:pt>
                <c:pt idx="3">
                  <c:v>98.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t>107,502,226</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t>120,379,89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t>Value Sales </a:t>
                    </a:r>
                  </a:p>
                  <a:p>
                    <a:r>
                      <a:t> 126,338,457</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B$2:$B$26</c:f>
              <c:numCache>
                <c:formatCode>General</c:formatCode>
                <c:ptCount val="25"/>
                <c:pt idx="0">
                  <c:v>107502226</c:v>
                </c:pt>
                <c:pt idx="1">
                  <c:v>109336246</c:v>
                </c:pt>
                <c:pt idx="2">
                  <c:v>99206284</c:v>
                </c:pt>
                <c:pt idx="3">
                  <c:v>110164525</c:v>
                </c:pt>
                <c:pt idx="4">
                  <c:v>107738200</c:v>
                </c:pt>
                <c:pt idx="5">
                  <c:v>112539513</c:v>
                </c:pt>
                <c:pt idx="6">
                  <c:v>102946182</c:v>
                </c:pt>
                <c:pt idx="7">
                  <c:v>101177231</c:v>
                </c:pt>
                <c:pt idx="8">
                  <c:v>107421870</c:v>
                </c:pt>
                <c:pt idx="9">
                  <c:v>100402162</c:v>
                </c:pt>
                <c:pt idx="10">
                  <c:v>109628448</c:v>
                </c:pt>
                <c:pt idx="11">
                  <c:v>107150467</c:v>
                </c:pt>
                <c:pt idx="12">
                  <c:v>116201039</c:v>
                </c:pt>
                <c:pt idx="13">
                  <c:v>120379897</c:v>
                </c:pt>
                <c:pt idx="14">
                  <c:v>110871351</c:v>
                </c:pt>
                <c:pt idx="15">
                  <c:v>121751318</c:v>
                </c:pt>
                <c:pt idx="16">
                  <c:v>118432274</c:v>
                </c:pt>
                <c:pt idx="17">
                  <c:v>120668586</c:v>
                </c:pt>
                <c:pt idx="18">
                  <c:v>115796828</c:v>
                </c:pt>
                <c:pt idx="19">
                  <c:v>108598451</c:v>
                </c:pt>
                <c:pt idx="20">
                  <c:v>114455850</c:v>
                </c:pt>
                <c:pt idx="21">
                  <c:v>113813231</c:v>
                </c:pt>
                <c:pt idx="22">
                  <c:v>119020237</c:v>
                </c:pt>
                <c:pt idx="23">
                  <c:v>117642975</c:v>
                </c:pt>
                <c:pt idx="24">
                  <c:v>126338457</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t>11.54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t>11.50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t>Av Price/Vol </a:t>
                    </a:r>
                  </a:p>
                  <a:p>
                    <a:r>
                      <a:t>11.61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Jul-23</c:v>
                </c:pt>
                <c:pt idx="1">
                  <c:v>Aug-23</c:v>
                </c:pt>
                <c:pt idx="2">
                  <c:v>Sep-23</c:v>
                </c:pt>
                <c:pt idx="3">
                  <c:v>Oct-23</c:v>
                </c:pt>
                <c:pt idx="4">
                  <c:v>Nov-23</c:v>
                </c:pt>
                <c:pt idx="5">
                  <c:v>Dec-23</c:v>
                </c:pt>
                <c:pt idx="6">
                  <c:v>Jan-24</c:v>
                </c:pt>
                <c:pt idx="7">
                  <c:v>Feb-24</c:v>
                </c:pt>
                <c:pt idx="8">
                  <c:v>Mar-24</c:v>
                </c:pt>
                <c:pt idx="9">
                  <c:v>Apr-24</c:v>
                </c:pt>
                <c:pt idx="10">
                  <c:v>May-24</c:v>
                </c:pt>
                <c:pt idx="11">
                  <c:v>Jun-24</c:v>
                </c:pt>
                <c:pt idx="12">
                  <c:v>Jul-24</c:v>
                </c:pt>
                <c:pt idx="13">
                  <c:v>Aug-24</c:v>
                </c:pt>
                <c:pt idx="14">
                  <c:v>Sep-24</c:v>
                </c:pt>
                <c:pt idx="15">
                  <c:v>Oct-24</c:v>
                </c:pt>
                <c:pt idx="16">
                  <c:v>Nov-24</c:v>
                </c:pt>
                <c:pt idx="17">
                  <c:v>Dec-24</c:v>
                </c:pt>
                <c:pt idx="18">
                  <c:v>Jan-25</c:v>
                </c:pt>
                <c:pt idx="19">
                  <c:v>Feb-25</c:v>
                </c:pt>
                <c:pt idx="20">
                  <c:v>Mar-25</c:v>
                </c:pt>
                <c:pt idx="21">
                  <c:v>Apr-25</c:v>
                </c:pt>
                <c:pt idx="22">
                  <c:v>May-25</c:v>
                </c:pt>
                <c:pt idx="23">
                  <c:v>Jun-25</c:v>
                </c:pt>
                <c:pt idx="24">
                  <c:v>Jul-25</c:v>
                </c:pt>
              </c:strCache>
            </c:strRef>
          </c:cat>
          <c:val>
            <c:numRef>
              <c:f>Sheet1!$C$2:$C$26</c:f>
              <c:numCache>
                <c:formatCode>General</c:formatCode>
                <c:ptCount val="25"/>
                <c:pt idx="0">
                  <c:v>11.54</c:v>
                </c:pt>
                <c:pt idx="1">
                  <c:v>11.61</c:v>
                </c:pt>
                <c:pt idx="2">
                  <c:v>11.32</c:v>
                </c:pt>
                <c:pt idx="3">
                  <c:v>11.33</c:v>
                </c:pt>
                <c:pt idx="4">
                  <c:v>11.29</c:v>
                </c:pt>
                <c:pt idx="5">
                  <c:v>11.47</c:v>
                </c:pt>
                <c:pt idx="6">
                  <c:v>11.13</c:v>
                </c:pt>
                <c:pt idx="7">
                  <c:v>11.17</c:v>
                </c:pt>
                <c:pt idx="8">
                  <c:v>11.1</c:v>
                </c:pt>
                <c:pt idx="9">
                  <c:v>11.21</c:v>
                </c:pt>
                <c:pt idx="10">
                  <c:v>11.22</c:v>
                </c:pt>
                <c:pt idx="11">
                  <c:v>11.22</c:v>
                </c:pt>
                <c:pt idx="12">
                  <c:v>11.42</c:v>
                </c:pt>
                <c:pt idx="13">
                  <c:v>11.5</c:v>
                </c:pt>
                <c:pt idx="14">
                  <c:v>11.26</c:v>
                </c:pt>
                <c:pt idx="15">
                  <c:v>11.37</c:v>
                </c:pt>
                <c:pt idx="16">
                  <c:v>11.35</c:v>
                </c:pt>
                <c:pt idx="17">
                  <c:v>11.56</c:v>
                </c:pt>
                <c:pt idx="18">
                  <c:v>11.36</c:v>
                </c:pt>
                <c:pt idx="19">
                  <c:v>11.26</c:v>
                </c:pt>
                <c:pt idx="20">
                  <c:v>11.19</c:v>
                </c:pt>
                <c:pt idx="21">
                  <c:v>11.5</c:v>
                </c:pt>
                <c:pt idx="22">
                  <c:v>11.52</c:v>
                </c:pt>
                <c:pt idx="23">
                  <c:v>11.6</c:v>
                </c:pt>
                <c:pt idx="24">
                  <c:v>11.61</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314992651529014</c:v>
                </c:pt>
                <c:pt idx="2">
                  <c:v>1.1118738305897076</c:v>
                </c:pt>
                <c:pt idx="3">
                  <c:v>1.1791079133293592</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2.0</c:v>
                </c:pt>
                <c:pt idx="2">
                  <c:v>117.0</c:v>
                </c:pt>
                <c:pt idx="3">
                  <c:v>125.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St Moret</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5.0</c:v>
                </c:pt>
                <c:pt idx="2">
                  <c:v>119.0</c:v>
                </c:pt>
                <c:pt idx="3">
                  <c:v>128.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Aperivrais</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4.0</c:v>
                </c:pt>
                <c:pt idx="2">
                  <c:v>114.0</c:v>
                </c:pt>
                <c:pt idx="3">
                  <c:v>114.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ivate Label</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39.0</c:v>
                </c:pt>
                <c:pt idx="2">
                  <c:v>136.0</c:v>
                </c:pt>
                <c:pt idx="3">
                  <c:v>13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Apericube</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1.0</c:v>
                </c:pt>
                <c:pt idx="2">
                  <c:v>110.0</c:v>
                </c:pt>
                <c:pt idx="3">
                  <c:v>118.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6.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3.0</c:v>
                </c:pt>
                <c:pt idx="2">
                  <c:v>93.0</c:v>
                </c:pt>
                <c:pt idx="3">
                  <c:v>112.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57.0</c:v>
                </c:pt>
                <c:pt idx="2">
                  <c:v>57.0</c:v>
                </c:pt>
                <c:pt idx="3">
                  <c:v>9.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07.0</c:v>
                </c:pt>
                <c:pt idx="2">
                  <c:v>106.0</c:v>
                </c:pt>
                <c:pt idx="3">
                  <c:v>8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9.0</c:v>
                </c:pt>
                <c:pt idx="2">
                  <c:v>122.0</c:v>
                </c:pt>
                <c:pt idx="3">
                  <c:v>19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La Belle Etoi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86.0</c:v>
                </c:pt>
                <c:pt idx="2">
                  <c:v>93.0</c:v>
                </c:pt>
                <c:pt idx="3">
                  <c:v>87.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Ragui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81.0</c:v>
                </c:pt>
                <c:pt idx="2">
                  <c:v>73.0</c:v>
                </c:pt>
                <c:pt idx="3">
                  <c:v>11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2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2112625313283207</c:v>
                </c:pt>
                <c:pt idx="2">
                  <c:v>1.2049498746867167</c:v>
                </c:pt>
                <c:pt idx="3">
                  <c:v>1.210557644110275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7.0</c:v>
                </c:pt>
                <c:pt idx="2">
                  <c:v>117.0</c:v>
                </c:pt>
                <c:pt idx="3">
                  <c:v>12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33.0</c:v>
                </c:pt>
                <c:pt idx="2">
                  <c:v>133.0</c:v>
                </c:pt>
                <c:pt idx="3">
                  <c:v>131.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26.0</c:v>
                </c:pt>
                <c:pt idx="2">
                  <c:v>127.0</c:v>
                </c:pt>
                <c:pt idx="3">
                  <c:v>125.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9.0</c:v>
                </c:pt>
                <c:pt idx="2">
                  <c:v>116.0</c:v>
                </c:pt>
                <c:pt idx="3">
                  <c:v>110.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La Belle Etoi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1.0</c:v>
                </c:pt>
                <c:pt idx="2">
                  <c:v>110.0</c:v>
                </c:pt>
                <c:pt idx="3">
                  <c:v>114.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Ragui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111.0</c:v>
                </c:pt>
                <c:pt idx="2">
                  <c:v>113.0</c:v>
                </c:pt>
                <c:pt idx="3">
                  <c:v>115.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59.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87.0</c:v>
                </c:pt>
                <c:pt idx="2">
                  <c:v>83.0</c:v>
                </c:pt>
                <c:pt idx="3">
                  <c:v>116.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02.0</c:v>
                </c:pt>
                <c:pt idx="2">
                  <c:v>93.0</c:v>
                </c:pt>
                <c:pt idx="3">
                  <c:v>9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1.0</c:v>
                </c:pt>
                <c:pt idx="2">
                  <c:v>92.0</c:v>
                </c:pt>
                <c:pt idx="3">
                  <c:v>96.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5.0</c:v>
                </c:pt>
                <c:pt idx="2">
                  <c:v>113.0</c:v>
                </c:pt>
                <c:pt idx="3">
                  <c:v>113.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La Belle Etoi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85.0</c:v>
                </c:pt>
                <c:pt idx="2">
                  <c:v>92.0</c:v>
                </c:pt>
                <c:pt idx="3">
                  <c:v>102.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39.2"/>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2689012406338285</c:v>
                </c:pt>
                <c:pt idx="2">
                  <c:v>1.2460999877164967</c:v>
                </c:pt>
                <c:pt idx="3">
                  <c:v>1.2114605085370347</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4.0</c:v>
                </c:pt>
                <c:pt idx="2">
                  <c:v>112.0</c:v>
                </c:pt>
                <c:pt idx="3">
                  <c:v>11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32.0</c:v>
                </c:pt>
                <c:pt idx="2">
                  <c:v>135.0</c:v>
                </c:pt>
                <c:pt idx="3">
                  <c:v>134.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30.0</c:v>
                </c:pt>
                <c:pt idx="2">
                  <c:v>129.0</c:v>
                </c:pt>
                <c:pt idx="3">
                  <c:v>12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26.0</c:v>
                </c:pt>
                <c:pt idx="2">
                  <c:v>124.0</c:v>
                </c:pt>
                <c:pt idx="3">
                  <c:v>10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La Belle Etoi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21.0</c:v>
                </c:pt>
                <c:pt idx="2">
                  <c:v>113.0</c:v>
                </c:pt>
                <c:pt idx="3">
                  <c:v>114.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62.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8.0</c:v>
                </c:pt>
                <c:pt idx="2">
                  <c:v>91.0</c:v>
                </c:pt>
                <c:pt idx="3">
                  <c:v>9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6.0</c:v>
                </c:pt>
                <c:pt idx="2">
                  <c:v>0.0</c:v>
                </c:pt>
                <c:pt idx="3">
                  <c:v>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4.0</c:v>
                </c:pt>
                <c:pt idx="2">
                  <c:v>110.0</c:v>
                </c:pt>
                <c:pt idx="3">
                  <c:v>10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56.0</c:v>
                </c:pt>
                <c:pt idx="2">
                  <c:v>173.0</c:v>
                </c:pt>
                <c:pt idx="3">
                  <c:v>187.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La Belle Etoi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88.0</c:v>
                </c:pt>
                <c:pt idx="2">
                  <c:v>93.0</c:v>
                </c:pt>
                <c:pt idx="3">
                  <c:v>54.0</c:v>
                </c:pt>
              </c:numCache>
            </c:numRef>
          </c:val>
          <c:smooth val="0"/>
          <c:extLst>
            <c:ext xmlns:c16="http://schemas.microsoft.com/office/drawing/2014/chart" uri="{C3380CC4-5D6E-409C-BE32-E72D297353CC}">
              <c16:uniqueId val="{00000007-0907-1A4C-A11F-73C2425749BA}"/>
            </c:ext>
          </c:extLst>
        </c:ser>
        <c:ser>
          <c:idx val="9"/>
          <c:order val="6"/>
          <c:tx>
            <c:strRef>
              <c:f>Sheet1!$H$1</c:f>
              <c:strCache>
                <c:ptCount val="1"/>
                <c:pt idx="0">
                  <c:v>Ragui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83.0</c:v>
                </c:pt>
                <c:pt idx="2">
                  <c:v>73.0</c:v>
                </c:pt>
                <c:pt idx="3">
                  <c:v>69.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224.4"/>
          <c:min val="0.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628368150166515</c:v>
                </c:pt>
                <c:pt idx="2">
                  <c:v>1.152270663033606</c:v>
                </c:pt>
                <c:pt idx="3">
                  <c:v>1.173024523160763</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Boursin</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17.0</c:v>
                </c:pt>
                <c:pt idx="2">
                  <c:v>120.0</c:v>
                </c:pt>
                <c:pt idx="3">
                  <c:v>123.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La Vache Qui Rit</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97.0</c:v>
                </c:pt>
                <c:pt idx="2">
                  <c:v>141.0</c:v>
                </c:pt>
                <c:pt idx="3">
                  <c:v>10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23.0</c:v>
                </c:pt>
                <c:pt idx="2">
                  <c:v>123.0</c:v>
                </c:pt>
                <c:pt idx="3">
                  <c:v>127.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President</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7.0</c:v>
                </c:pt>
                <c:pt idx="2">
                  <c:v>113.0</c:v>
                </c:pt>
                <c:pt idx="3">
                  <c:v>11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La Belle Etoile</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1.0</c:v>
                </c:pt>
                <c:pt idx="2">
                  <c:v>111.0</c:v>
                </c:pt>
                <c:pt idx="3">
                  <c:v>118.0</c:v>
                </c:pt>
              </c:numCache>
            </c:numRef>
          </c:val>
          <c:smooth val="0"/>
          <c:extLst>
            <c:ext xmlns:c16="http://schemas.microsoft.com/office/drawing/2014/chart" uri="{C3380CC4-5D6E-409C-BE32-E72D297353CC}">
              <c16:uniqueId val="{00000003-F160-FB4E-B9E2-3D36233077E3}"/>
            </c:ext>
          </c:extLst>
        </c:ser>
        <c:ser>
          <c:idx val="9"/>
          <c:order val="6"/>
          <c:tx>
            <c:strRef>
              <c:f>Sheet1!$H$1</c:f>
              <c:strCache>
                <c:ptCount val="1"/>
                <c:pt idx="0">
                  <c:v>Raguin</c:v>
                </c:pt>
              </c:strCache>
            </c:strRef>
          </c:tx>
          <c:spPr>
            <a:ln w="19050" cap="rnd">
              <a:solidFill>
                <a:srgbClr val="7F7F7F"/>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H$2:$H$5</c:f>
              <c:numCache>
                <c:formatCode>General</c:formatCode>
                <c:ptCount val="4"/>
                <c:pt idx="0">
                  <c:v>100.0</c:v>
                </c:pt>
                <c:pt idx="1">
                  <c:v>112.0</c:v>
                </c:pt>
                <c:pt idx="2">
                  <c:v>116.0</c:v>
                </c:pt>
                <c:pt idx="3">
                  <c:v>116.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236.3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La Vache Qui Rit</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98.0</c:v>
                </c:pt>
                <c:pt idx="2">
                  <c:v>102.0</c:v>
                </c:pt>
                <c:pt idx="3">
                  <c:v>107.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7.0</c:v>
                </c:pt>
                <c:pt idx="2">
                  <c:v>119.0</c:v>
                </c:pt>
                <c:pt idx="3">
                  <c:v>112.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ini Babyb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3.0</c:v>
                </c:pt>
                <c:pt idx="2">
                  <c:v>89.0</c:v>
                </c:pt>
                <c:pt idx="3">
                  <c:v>83.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Kiri</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00.0</c:v>
                </c:pt>
                <c:pt idx="2">
                  <c:v>101.0</c:v>
                </c:pt>
                <c:pt idx="3">
                  <c:v>105.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Ficello</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0.0</c:v>
                </c:pt>
                <c:pt idx="2">
                  <c:v>103.0</c:v>
                </c:pt>
                <c:pt idx="3">
                  <c:v>124.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8.79999999999998"/>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price/Vol by Brand, index</a:t>
            </a: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1"/>
              <c:spPr/>
              <c:txPr>
                <a:bodyPr/>
                <a:lstStyle/>
                <a:p>
                  <a:pPr>
                    <a:defRPr sz="800"/>
                  </a:pPr>
                </a:p>
              </c:txPr>
              <c:dLblPos val="r"/>
              <c:showLegendKey val="0"/>
              <c:showVal val="1"/>
              <c:showCatName val="0"/>
              <c:showSerName val="0"/>
              <c:showPercent val="0"/>
              <c:showBubbleSize val="0"/>
            </c:dLbl>
            <c:dLbl>
              <c:idx val="2"/>
              <c:spPr/>
              <c:txPr>
                <a:bodyPr/>
                <a:lstStyle/>
                <a:p>
                  <a:pPr>
                    <a:defRPr sz="800"/>
                  </a:pPr>
                </a:p>
              </c:txPr>
              <c:dLblPos val="r"/>
              <c:showLegendKey val="0"/>
              <c:showVal val="1"/>
              <c:showCatName val="0"/>
              <c:showSerName val="0"/>
              <c:showPercent val="0"/>
              <c:showBubbleSize val="0"/>
            </c:dLbl>
            <c:dLbl>
              <c:idx val="3"/>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1397900949849509</c:v>
                </c:pt>
                <c:pt idx="2">
                  <c:v>1.1318160497205176</c:v>
                </c:pt>
                <c:pt idx="3">
                  <c:v>1.148438416135715</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La Vache Qui Rit</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20.0</c:v>
                </c:pt>
                <c:pt idx="2">
                  <c:v>118.0</c:v>
                </c:pt>
                <c:pt idx="3">
                  <c:v>118.0</c:v>
                </c:pt>
              </c:numCache>
            </c:numRef>
          </c:val>
          <c:smooth val="0"/>
          <c:extLst>
            <c:ext xmlns:c16="http://schemas.microsoft.com/office/drawing/2014/chart" uri="{C3380CC4-5D6E-409C-BE32-E72D297353CC}">
              <c16:uniqueId val="{00000003-F160-FB4E-B9E2-3D36233077E3}"/>
            </c:ext>
          </c:extLst>
        </c:ser>
        <c:ser>
          <c:idx val="5"/>
          <c:order val="2"/>
          <c:tx>
            <c:strRef>
              <c:f>Sheet1!$D$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17.0</c:v>
                </c:pt>
                <c:pt idx="2">
                  <c:v>116.0</c:v>
                </c:pt>
                <c:pt idx="3">
                  <c:v>116.0</c:v>
                </c:pt>
              </c:numCache>
            </c:numRef>
          </c:val>
          <c:smooth val="0"/>
          <c:extLst>
            <c:ext xmlns:c16="http://schemas.microsoft.com/office/drawing/2014/chart" uri="{C3380CC4-5D6E-409C-BE32-E72D297353CC}">
              <c16:uniqueId val="{00000003-F160-FB4E-B9E2-3D36233077E3}"/>
            </c:ext>
          </c:extLst>
        </c:ser>
        <c:ser>
          <c:idx val="6"/>
          <c:order val="3"/>
          <c:tx>
            <c:strRef>
              <c:f>Sheet1!$E$1</c:f>
              <c:strCache>
                <c:ptCount val="1"/>
                <c:pt idx="0">
                  <c:v>Mini Babyb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111.0</c:v>
                </c:pt>
                <c:pt idx="2">
                  <c:v>112.0</c:v>
                </c:pt>
                <c:pt idx="3">
                  <c:v>120.0</c:v>
                </c:pt>
              </c:numCache>
            </c:numRef>
          </c:val>
          <c:smooth val="0"/>
          <c:extLst>
            <c:ext xmlns:c16="http://schemas.microsoft.com/office/drawing/2014/chart" uri="{C3380CC4-5D6E-409C-BE32-E72D297353CC}">
              <c16:uniqueId val="{00000003-F160-FB4E-B9E2-3D36233077E3}"/>
            </c:ext>
          </c:extLst>
        </c:ser>
        <c:ser>
          <c:idx val="7"/>
          <c:order val="4"/>
          <c:tx>
            <c:strRef>
              <c:f>Sheet1!$F$1</c:f>
              <c:strCache>
                <c:ptCount val="1"/>
                <c:pt idx="0">
                  <c:v>Kiri</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116.0</c:v>
                </c:pt>
                <c:pt idx="2">
                  <c:v>118.0</c:v>
                </c:pt>
                <c:pt idx="3">
                  <c:v>115.0</c:v>
                </c:pt>
              </c:numCache>
            </c:numRef>
          </c:val>
          <c:smooth val="0"/>
          <c:extLst>
            <c:ext xmlns:c16="http://schemas.microsoft.com/office/drawing/2014/chart" uri="{C3380CC4-5D6E-409C-BE32-E72D297353CC}">
              <c16:uniqueId val="{00000003-F160-FB4E-B9E2-3D36233077E3}"/>
            </c:ext>
          </c:extLst>
        </c:ser>
        <c:ser>
          <c:idx val="8"/>
          <c:order val="5"/>
          <c:tx>
            <c:strRef>
              <c:f>Sheet1!$G$1</c:f>
              <c:strCache>
                <c:ptCount val="1"/>
                <c:pt idx="0">
                  <c:v>Ficello</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14.0</c:v>
                </c:pt>
                <c:pt idx="2">
                  <c:v>111.0</c:v>
                </c:pt>
                <c:pt idx="3">
                  <c:v>111.0</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max val="144.0"/>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b="0" sz="800">
                <a:latin typeface="Nexa (Headings)"/>
              </a:defRPr>
            </a:pPr>
            <a:r>
              <a:t>Change in average share by Brand,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c:v>
                </c:pt>
              </c:strCache>
            </c:strRef>
          </c:tx>
          <c:spPr>
            <a:ln w="25400" cap="rnd">
              <a:solidFill>
                <a:srgbClr val="000000"/>
              </a:solidFill>
              <a:prstDash val="sysDot"/>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B$2:$B$5</c:f>
              <c:numCache>
                <c:formatCode>General</c:formatCode>
                <c:ptCount val="4"/>
                <c:pt idx="0">
                  <c:v>1.0</c:v>
                </c:pt>
                <c:pt idx="1">
                  <c:v>1.0</c:v>
                </c:pt>
                <c:pt idx="2">
                  <c:v>1.0</c:v>
                </c:pt>
                <c:pt idx="3">
                  <c:v>1.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La Vache Qui Rit</c:v>
                </c:pt>
              </c:strCache>
            </c:strRef>
          </c:tx>
          <c:spPr>
            <a:ln w="19050" cap="rnd">
              <a:solidFill>
                <a:srgbClr val="00504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C$2:$C$5</c:f>
              <c:numCache>
                <c:formatCode>General</c:formatCode>
                <c:ptCount val="4"/>
                <c:pt idx="0">
                  <c:v>100.0</c:v>
                </c:pt>
                <c:pt idx="1">
                  <c:v>102.0</c:v>
                </c:pt>
                <c:pt idx="2">
                  <c:v>106.0</c:v>
                </c:pt>
                <c:pt idx="3">
                  <c:v>103.0</c:v>
                </c:pt>
              </c:numCache>
            </c:numRef>
          </c:val>
          <c:smooth val="0"/>
          <c:extLst>
            <c:ext xmlns:c16="http://schemas.microsoft.com/office/drawing/2014/chart" uri="{C3380CC4-5D6E-409C-BE32-E72D297353CC}">
              <c16:uniqueId val="{00000007-0907-1A4C-A11F-73C2425749BA}"/>
            </c:ext>
          </c:extLst>
        </c:ser>
        <c:ser>
          <c:idx val="5"/>
          <c:order val="2"/>
          <c:tx>
            <c:strRef>
              <c:f>Sheet1!$D$1</c:f>
              <c:strCache>
                <c:ptCount val="1"/>
                <c:pt idx="0">
                  <c:v>Private Label</c:v>
                </c:pt>
              </c:strCache>
            </c:strRef>
          </c:tx>
          <c:spPr>
            <a:ln w="19050" cap="rnd">
              <a:solidFill>
                <a:srgbClr val="AEABAB"/>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D$2:$D$5</c:f>
              <c:numCache>
                <c:formatCode>General</c:formatCode>
                <c:ptCount val="4"/>
                <c:pt idx="0">
                  <c:v>100.0</c:v>
                </c:pt>
                <c:pt idx="1">
                  <c:v>123.0</c:v>
                </c:pt>
                <c:pt idx="2">
                  <c:v>119.0</c:v>
                </c:pt>
                <c:pt idx="3">
                  <c:v>120.0</c:v>
                </c:pt>
              </c:numCache>
            </c:numRef>
          </c:val>
          <c:smooth val="0"/>
          <c:extLst>
            <c:ext xmlns:c16="http://schemas.microsoft.com/office/drawing/2014/chart" uri="{C3380CC4-5D6E-409C-BE32-E72D297353CC}">
              <c16:uniqueId val="{00000007-0907-1A4C-A11F-73C2425749BA}"/>
            </c:ext>
          </c:extLst>
        </c:ser>
        <c:ser>
          <c:idx val="6"/>
          <c:order val="3"/>
          <c:tx>
            <c:strRef>
              <c:f>Sheet1!$E$1</c:f>
              <c:strCache>
                <c:ptCount val="1"/>
                <c:pt idx="0">
                  <c:v>Mini Babybel</c:v>
                </c:pt>
              </c:strCache>
            </c:strRef>
          </c:tx>
          <c:spPr>
            <a:ln w="19050" cap="rnd">
              <a:solidFill>
                <a:srgbClr val="A6A6A6"/>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E$2:$E$5</c:f>
              <c:numCache>
                <c:formatCode>General</c:formatCode>
                <c:ptCount val="4"/>
                <c:pt idx="0">
                  <c:v>100.0</c:v>
                </c:pt>
                <c:pt idx="1">
                  <c:v>95.0</c:v>
                </c:pt>
                <c:pt idx="2">
                  <c:v>91.0</c:v>
                </c:pt>
                <c:pt idx="3">
                  <c:v>87.0</c:v>
                </c:pt>
              </c:numCache>
            </c:numRef>
          </c:val>
          <c:smooth val="0"/>
          <c:extLst>
            <c:ext xmlns:c16="http://schemas.microsoft.com/office/drawing/2014/chart" uri="{C3380CC4-5D6E-409C-BE32-E72D297353CC}">
              <c16:uniqueId val="{00000007-0907-1A4C-A11F-73C2425749BA}"/>
            </c:ext>
          </c:extLst>
        </c:ser>
        <c:ser>
          <c:idx val="7"/>
          <c:order val="4"/>
          <c:tx>
            <c:strRef>
              <c:f>Sheet1!$F$1</c:f>
              <c:strCache>
                <c:ptCount val="1"/>
                <c:pt idx="0">
                  <c:v>Kiri</c:v>
                </c:pt>
              </c:strCache>
            </c:strRef>
          </c:tx>
          <c:spPr>
            <a:ln w="19050" cap="rnd">
              <a:solidFill>
                <a:srgbClr val="006C6D"/>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F$2:$F$5</c:f>
              <c:numCache>
                <c:formatCode>General</c:formatCode>
                <c:ptCount val="4"/>
                <c:pt idx="0">
                  <c:v>100.0</c:v>
                </c:pt>
                <c:pt idx="1">
                  <c:v>94.0</c:v>
                </c:pt>
                <c:pt idx="2">
                  <c:v>96.0</c:v>
                </c:pt>
                <c:pt idx="3">
                  <c:v>101.0</c:v>
                </c:pt>
              </c:numCache>
            </c:numRef>
          </c:val>
          <c:smooth val="0"/>
          <c:extLst>
            <c:ext xmlns:c16="http://schemas.microsoft.com/office/drawing/2014/chart" uri="{C3380CC4-5D6E-409C-BE32-E72D297353CC}">
              <c16:uniqueId val="{00000007-0907-1A4C-A11F-73C2425749BA}"/>
            </c:ext>
          </c:extLst>
        </c:ser>
        <c:ser>
          <c:idx val="8"/>
          <c:order val="5"/>
          <c:tx>
            <c:strRef>
              <c:f>Sheet1!$G$1</c:f>
              <c:strCache>
                <c:ptCount val="1"/>
                <c:pt idx="0">
                  <c:v>Ficello</c:v>
                </c:pt>
              </c:strCache>
            </c:strRef>
          </c:tx>
          <c:spPr>
            <a:ln w="19050" cap="rnd">
              <a:solidFill>
                <a:srgbClr val="9B9898"/>
              </a:solidFill>
              <a:prstDash val="solid"/>
              <a:round/>
            </a:ln>
            <a:effectLst/>
          </c:spPr>
          <c:marker>
            <c:symbol val="none"/>
          </c:marker>
          <c:dLbls>
            <c:dLbl>
              <c:idx val="0"/>
              <c:delete val="1"/>
              <c:txPr>
                <a:bodyPr/>
                <a:lstStyle/>
                <a:p>
                  <a:pPr>
                    <a:defRPr sz="800"/>
                  </a:pPr>
                </a:p>
              </c:txPr>
              <c:dLblPos val="r"/>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txPr>
                <a:bodyPr/>
                <a:lstStyle/>
                <a:p>
                  <a:pPr>
                    <a:defRPr sz="800"/>
                  </a:pP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dLbl>
              <c:idx val="2"/>
              <c:spPr/>
              <c:txPr>
                <a:bodyPr/>
                <a:lstStyle/>
                <a:p>
                  <a:pPr>
                    <a:defRPr sz="800"/>
                  </a:pPr>
                </a:p>
              </c:txPr>
              <c:dLblPos val="r"/>
              <c:showLegendKey val="0"/>
              <c:showVal val="1"/>
              <c:showCatName val="0"/>
              <c:showSerName val="0"/>
              <c:showPercent val="0"/>
              <c:showBubbleSize val="0"/>
            </c:dLbl>
            <c:dLbl>
              <c:idx val="3"/>
              <c:spPr/>
              <c:txPr>
                <a:bodyPr/>
                <a:lstStyle/>
                <a:p>
                  <a:pPr>
                    <a:defRPr sz="800"/>
                  </a:pPr>
                </a:p>
              </c:txPr>
              <c:dLblPos val="r"/>
              <c:showLegendKey val="0"/>
              <c:showVal val="1"/>
              <c:showCatName val="0"/>
              <c:showSerName val="0"/>
              <c:showPercent val="0"/>
              <c:showBubbleSize val="0"/>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22</c:v>
                </c:pt>
                <c:pt idx="1">
                  <c:v>2023</c:v>
                </c:pt>
                <c:pt idx="2">
                  <c:v>2024</c:v>
                </c:pt>
                <c:pt idx="3">
                  <c:v>2025</c:v>
                </c:pt>
              </c:strCache>
            </c:strRef>
          </c:cat>
          <c:val>
            <c:numRef>
              <c:f>Sheet1!$G$2:$G$5</c:f>
              <c:numCache>
                <c:formatCode>General</c:formatCode>
                <c:ptCount val="4"/>
                <c:pt idx="0">
                  <c:v>100.0</c:v>
                </c:pt>
                <c:pt idx="1">
                  <c:v>100.0</c:v>
                </c:pt>
                <c:pt idx="2">
                  <c:v>104.0</c:v>
                </c:pt>
                <c:pt idx="3">
                  <c:v>123.0</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max val="147.6"/>
          <c:min val="0.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86.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87.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11/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1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1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1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1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11/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chart" Target="../charts/chart31.xml"/><Relationship Id="rId4" Type="http://schemas.openxmlformats.org/officeDocument/2006/relationships/chart" Target="../charts/chart3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chart" Target="../charts/chart33.xml"/><Relationship Id="rId4" Type="http://schemas.openxmlformats.org/officeDocument/2006/relationships/chart" Target="../charts/chart3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chart" Target="../charts/chart35.xml"/><Relationship Id="rId4" Type="http://schemas.openxmlformats.org/officeDocument/2006/relationships/chart" Target="../charts/chart3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chart" Target="../charts/chart37.xml"/><Relationship Id="rId4" Type="http://schemas.openxmlformats.org/officeDocument/2006/relationships/chart" Target="../charts/chart3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chart" Target="../charts/chart39.xml"/><Relationship Id="rId4" Type="http://schemas.openxmlformats.org/officeDocument/2006/relationships/chart" Target="../charts/chart4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chart" Target="../charts/chart41.xml"/><Relationship Id="rId4" Type="http://schemas.openxmlformats.org/officeDocument/2006/relationships/chart" Target="../charts/chart4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chart" Target="../charts/chart43.xml"/><Relationship Id="rId4" Type="http://schemas.openxmlformats.org/officeDocument/2006/relationships/chart" Target="../charts/chart4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chart" Target="../charts/chart45.xml"/><Relationship Id="rId4" Type="http://schemas.openxmlformats.org/officeDocument/2006/relationships/chart" Target="../charts/chart4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chart" Target="../charts/chart47.xml"/><Relationship Id="rId4" Type="http://schemas.openxmlformats.org/officeDocument/2006/relationships/chart" Target="../charts/chart4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chart" Target="../charts/chart49.xml"/><Relationship Id="rId4" Type="http://schemas.openxmlformats.org/officeDocument/2006/relationships/chart" Target="../charts/chart5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chart" Target="../charts/chart51.xml"/><Relationship Id="rId4" Type="http://schemas.openxmlformats.org/officeDocument/2006/relationships/chart" Target="../charts/chart5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chart" Target="../charts/chart53.xml"/><Relationship Id="rId4" Type="http://schemas.openxmlformats.org/officeDocument/2006/relationships/chart" Target="../charts/chart5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xml"/><Relationship Id="rId3" Type="http://schemas.openxmlformats.org/officeDocument/2006/relationships/chart" Target="../charts/chart55.xml"/><Relationship Id="rId4" Type="http://schemas.openxmlformats.org/officeDocument/2006/relationships/chart" Target="../charts/chart5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xml"/><Relationship Id="rId3" Type="http://schemas.openxmlformats.org/officeDocument/2006/relationships/chart" Target="../charts/chart57.xml"/><Relationship Id="rId4" Type="http://schemas.openxmlformats.org/officeDocument/2006/relationships/chart" Target="../charts/chart5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chart" Target="../charts/chart59.xml"/><Relationship Id="rId4" Type="http://schemas.openxmlformats.org/officeDocument/2006/relationships/chart" Target="../charts/chart6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xml"/><Relationship Id="rId3" Type="http://schemas.openxmlformats.org/officeDocument/2006/relationships/chart" Target="../charts/chart61.xml"/><Relationship Id="rId4" Type="http://schemas.openxmlformats.org/officeDocument/2006/relationships/chart" Target="../charts/chart6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chart" Target="../charts/chart63.xml"/><Relationship Id="rId4" Type="http://schemas.openxmlformats.org/officeDocument/2006/relationships/chart" Target="../charts/chart6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xml"/><Relationship Id="rId3" Type="http://schemas.openxmlformats.org/officeDocument/2006/relationships/chart" Target="../charts/chart65.xml"/><Relationship Id="rId4" Type="http://schemas.openxmlformats.org/officeDocument/2006/relationships/chart" Target="../charts/chart6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xml"/><Relationship Id="rId3" Type="http://schemas.openxmlformats.org/officeDocument/2006/relationships/chart" Target="../charts/chart67.xml"/><Relationship Id="rId4" Type="http://schemas.openxmlformats.org/officeDocument/2006/relationships/chart" Target="../charts/chart6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chart" Target="../charts/chart69.xml"/><Relationship Id="rId4" Type="http://schemas.openxmlformats.org/officeDocument/2006/relationships/chart" Target="../charts/chart7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chart" Target="../charts/chart71.xml"/><Relationship Id="rId4" Type="http://schemas.openxmlformats.org/officeDocument/2006/relationships/chart" Target="../charts/chart7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xml"/><Relationship Id="rId3" Type="http://schemas.openxmlformats.org/officeDocument/2006/relationships/chart" Target="../charts/chart73.xml"/><Relationship Id="rId4" Type="http://schemas.openxmlformats.org/officeDocument/2006/relationships/chart" Target="../charts/chart7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xml"/><Relationship Id="rId3" Type="http://schemas.openxmlformats.org/officeDocument/2006/relationships/chart" Target="../charts/chart75.xml"/><Relationship Id="rId4" Type="http://schemas.openxmlformats.org/officeDocument/2006/relationships/chart" Target="../charts/chart7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xml"/><Relationship Id="rId3" Type="http://schemas.openxmlformats.org/officeDocument/2006/relationships/chart" Target="../charts/chart77.xml"/><Relationship Id="rId4" Type="http://schemas.openxmlformats.org/officeDocument/2006/relationships/chart" Target="../charts/chart7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chart" Target="../charts/chart79.xml"/><Relationship Id="rId4" Type="http://schemas.openxmlformats.org/officeDocument/2006/relationships/chart" Target="../charts/chart8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xml"/><Relationship Id="rId3" Type="http://schemas.openxmlformats.org/officeDocument/2006/relationships/chart" Target="../charts/chart81.xml"/><Relationship Id="rId4" Type="http://schemas.openxmlformats.org/officeDocument/2006/relationships/chart" Target="../charts/chart8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chart" Target="../charts/chart83.xml"/><Relationship Id="rId4" Type="http://schemas.openxmlformats.org/officeDocument/2006/relationships/chart" Target="../charts/chart8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chart" Target="../charts/chart85.xml"/><Relationship Id="rId4" Type="http://schemas.openxmlformats.org/officeDocument/2006/relationships/chart" Target="../charts/chart8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xml"/><Relationship Id="rId3" Type="http://schemas.openxmlformats.org/officeDocument/2006/relationships/chart" Target="../charts/chart87.xml"/><Relationship Id="rId4" Type="http://schemas.openxmlformats.org/officeDocument/2006/relationships/chart" Target="../charts/chart8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xml"/><Relationship Id="rId3" Type="http://schemas.openxmlformats.org/officeDocument/2006/relationships/chart" Target="../charts/chart89.xml"/><Relationship Id="rId4" Type="http://schemas.openxmlformats.org/officeDocument/2006/relationships/chart" Target="../charts/chart9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xml"/><Relationship Id="rId3" Type="http://schemas.openxmlformats.org/officeDocument/2006/relationships/chart" Target="../charts/chart91.xml"/><Relationship Id="rId4" Type="http://schemas.openxmlformats.org/officeDocument/2006/relationships/chart" Target="../charts/chart9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xml"/><Relationship Id="rId3" Type="http://schemas.openxmlformats.org/officeDocument/2006/relationships/chart" Target="../charts/chart93.xml"/><Relationship Id="rId4" Type="http://schemas.openxmlformats.org/officeDocument/2006/relationships/chart" Target="../charts/chart9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xml"/><Relationship Id="rId3" Type="http://schemas.openxmlformats.org/officeDocument/2006/relationships/chart" Target="../charts/chart95.xml"/><Relationship Id="rId4" Type="http://schemas.openxmlformats.org/officeDocument/2006/relationships/chart" Target="../charts/chart9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xml"/><Relationship Id="rId3" Type="http://schemas.openxmlformats.org/officeDocument/2006/relationships/chart" Target="../charts/chart97.xml"/><Relationship Id="rId4" Type="http://schemas.openxmlformats.org/officeDocument/2006/relationships/chart" Target="../charts/chart9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xml"/><Relationship Id="rId3" Type="http://schemas.openxmlformats.org/officeDocument/2006/relationships/chart" Target="../charts/chart99.xml"/><Relationship Id="rId4" Type="http://schemas.openxmlformats.org/officeDocument/2006/relationships/chart" Target="../charts/chart10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xml"/><Relationship Id="rId3" Type="http://schemas.openxmlformats.org/officeDocument/2006/relationships/chart" Target="../charts/chart101.xml"/><Relationship Id="rId4" Type="http://schemas.openxmlformats.org/officeDocument/2006/relationships/chart" Target="../charts/chart10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xml"/><Relationship Id="rId3" Type="http://schemas.openxmlformats.org/officeDocument/2006/relationships/chart" Target="../charts/chart103.xml"/><Relationship Id="rId4" Type="http://schemas.openxmlformats.org/officeDocument/2006/relationships/chart" Target="../charts/chart10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xml"/><Relationship Id="rId3" Type="http://schemas.openxmlformats.org/officeDocument/2006/relationships/chart" Target="../charts/chart105.xml"/><Relationship Id="rId4" Type="http://schemas.openxmlformats.org/officeDocument/2006/relationships/chart" Target="../charts/chart10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chart" Target="../charts/chart107.xml"/><Relationship Id="rId4" Type="http://schemas.openxmlformats.org/officeDocument/2006/relationships/chart" Target="../charts/chart10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xml"/><Relationship Id="rId3" Type="http://schemas.openxmlformats.org/officeDocument/2006/relationships/chart" Target="../charts/chart109.xml"/><Relationship Id="rId4" Type="http://schemas.openxmlformats.org/officeDocument/2006/relationships/chart" Target="../charts/chart11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xml"/><Relationship Id="rId3" Type="http://schemas.openxmlformats.org/officeDocument/2006/relationships/chart" Target="../charts/chart111.xml"/><Relationship Id="rId4" Type="http://schemas.openxmlformats.org/officeDocument/2006/relationships/chart" Target="../charts/chart11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xml"/><Relationship Id="rId3" Type="http://schemas.openxmlformats.org/officeDocument/2006/relationships/chart" Target="../charts/chart113.xml"/><Relationship Id="rId4" Type="http://schemas.openxmlformats.org/officeDocument/2006/relationships/chart" Target="../charts/chart114.xml"/></Relationships>
</file>

<file path=ppt/slides/_rels/slide73.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s>
</file>

<file path=ppt/slides/_rels/slide74.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xml"/></Relationships>
</file>

<file path=ppt/slides/_rels/slide75.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Total Fromage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1377319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Total Fromage | Kiri | Category Trends | Intermarch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2548259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Total Fromage | La Vache Qui Rit | Category Trends | Intermarch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4940680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Total Fromage | Boursin | Category Trends | Intermarch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38177059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Soft Cheese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781609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Soft Cheese | Category Trends | Carrefour</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34867620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Soft Cheese | Category Trends | Intermarch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113531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peritif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11800503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peritif | Category Trends | Carrefour</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24482670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Aperitif | Category Trends | Intermarch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1215940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Ingredient A Chaud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568515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Total Fromage | Kiri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16301851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Ingredient A Chaud | Category Trends | Carrefour</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40449760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Ingredient A Chaud | Category Trends | Intermarch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20911546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nfant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41056311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nfant | Category Trends | Carrefour</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29351454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Enfant | Category Trends | Intermarch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18281981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Frais A Tartiner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42928564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Frais A Tartiner | Category Trends | Carrefour</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24810513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Frais A Tartiner | Category Trends | Intermarch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2612181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Salade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19900635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Salade | Category Trends | Carrefour</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2470181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Total Fromage | La Vache Qui Rit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34750844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Salade | Category Trends | Intermarch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31018967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Total Fromage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40337710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Total Fromage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4926193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Total Fromage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0699330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Soft Cheese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28544740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Soft Cheese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14884177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Soft Cheese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21802103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peritif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3463790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peritif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12417123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Aperitif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25968134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Total Fromage | Boursin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34788325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Ingredient A Chaud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8317451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Ingredient A Chaud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5250356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Ingredient A Chaud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2913404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nfant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2726434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nfant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28693350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Enfant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181759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Frais A Tartiner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11785702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Frais A Tartiner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1537025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Frais A Tartiner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4277156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Salade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23251198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Total Fromage | Category Trends | Carrefour</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41340371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Salade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12334831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Top Companies | Salade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29691979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Total Fromage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19889040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Total Fromage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11543075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Total Fromage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3804621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Soft Cheese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10538731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Soft Cheese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19669902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Soft Cheese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81344664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peritif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24091561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peritif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0929193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Total Fromage | Kiri | Category Trends | Carrefour</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37473981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Aperitif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182810966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Ingredient A Chaud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52643188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Ingredient A Chaud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7217366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Ingredient A Chaud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81215724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nfant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20251441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nfant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24564092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Enfant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22377315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Frais A Tartiner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409285977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Frais A Tartiner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34959316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Frais A Tartiner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4321061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Total Fromage | La Vache Qui Rit | Category Trends | Carrefour</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10384403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Salade | NATIONAL</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189744082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Salade | Carrefour</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305339527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DATA SOURCE: Trade Panel/Retailer Data | July 2025</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Salade | Intermarche</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11/2025</a:t>
            </a:fld>
            <a:endParaRPr lang="en-US"/>
          </a:p>
        </p:txBody>
      </p:sp>
    </p:spTree>
    <p:extLst>
      <p:ext uri="{BB962C8B-B14F-4D97-AF65-F5344CB8AC3E}">
        <p14:creationId xmlns:p14="http://schemas.microsoft.com/office/powerpoint/2010/main" val="185971534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July 2025</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Fromage | NATIONA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5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53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6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31.3</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9/11/2025</a:t>
            </a:fld>
            <a:endParaRPr lang="en-US"/>
          </a:p>
        </p:txBody>
      </p:sp>
    </p:spTree>
    <p:extLst>
      <p:ext uri="{BB962C8B-B14F-4D97-AF65-F5344CB8AC3E}">
        <p14:creationId xmlns:p14="http://schemas.microsoft.com/office/powerpoint/2010/main" val="212098957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July 2025</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Fromage | Carrefour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8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33.1</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8.4</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4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9/11/2025</a:t>
            </a:fld>
            <a:endParaRPr lang="en-US"/>
          </a:p>
        </p:txBody>
      </p:sp>
    </p:spTree>
    <p:extLst>
      <p:ext uri="{BB962C8B-B14F-4D97-AF65-F5344CB8AC3E}">
        <p14:creationId xmlns:p14="http://schemas.microsoft.com/office/powerpoint/2010/main" val="41058486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Trade Panel/Retailer Data | July 2025</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Fromage | Intermarche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algn="ctr">
                        <a:defRPr>
                          <a:latin typeface="Nexa Bold"/>
                        </a:defRPr>
                      </a:pPr>
                      <a:r>
                        <a:rPr sz="900" b="0">
                          <a:solidFill>
                            <a:srgbClr val="575555"/>
                          </a:solidFill>
                        </a:rPr>
                        <a:t>Pricing impact</a:t>
                      </a:r>
                    </a:p>
                    <a:p>
                      <a:pPr algn="ctr"/>
                      <a:r>
                        <a:rPr sz="900" b="0">
                          <a:solidFill>
                            <a:srgbClr val="575555"/>
                          </a:solidFill>
                          <a:latin typeface="Nexa Bold"/>
                        </a:rPr>
                        <a:t>on growth
</a:t>
                      </a:r>
                      <a:r>
                        <a:rPr sz="900">
                          <a:solidFill>
                            <a:srgbClr val="006C6D"/>
                          </a:solidFill>
                          <a:latin typeface="Nexa Bold"/>
                        </a:rPr>
                        <a:t>4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pPr>
                        <a:defRPr>
                          <a:latin typeface="Nexa Bold"/>
                        </a:defRPr>
                      </a:pPr>
                      <a:r>
                        <a:rPr sz="900" b="1"/>
                        <a:t>Value Sales ( €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62.9</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27.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a:r>
                        <a:rPr sz="900"/>
                        <a:t>10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31.3</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a:r>
                        <a:rPr sz="900"/>
                        <a:t>1.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r>
                        <a:rPr sz="900"/>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 €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9/11/2025</a:t>
            </a:fld>
            <a:endParaRPr lang="en-US"/>
          </a:p>
        </p:txBody>
      </p:sp>
    </p:spTree>
    <p:extLst>
      <p:ext uri="{BB962C8B-B14F-4D97-AF65-F5344CB8AC3E}">
        <p14:creationId xmlns:p14="http://schemas.microsoft.com/office/powerpoint/2010/main" val="38204113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Total Fromage | Boursin | Category Trends | Carrefour</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11888083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July 2025</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pPr>
              <a:defRPr b="1"/>
            </a:pPr>
            <a:r>
              <a:rPr lang="en-US"/>
              <a:t>Value Sales Vs. Avg Price Trend | Total Fromage | Category Trends | Intermarche</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11/2025</a:t>
            </a:fld>
            <a:endParaRPr lang="en-US"/>
          </a:p>
        </p:txBody>
      </p:sp>
    </p:spTree>
    <p:extLst>
      <p:ext uri="{BB962C8B-B14F-4D97-AF65-F5344CB8AC3E}">
        <p14:creationId xmlns:p14="http://schemas.microsoft.com/office/powerpoint/2010/main" val="39079240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38</TotalTime>
  <Words>4800</Words>
  <Application>Microsoft Office PowerPoint</Application>
  <PresentationFormat>On-screen Show (16:9)</PresentationFormat>
  <Paragraphs>894</Paragraphs>
  <Slides>75</Slides>
  <Notes>4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75</vt:i4>
      </vt:variant>
    </vt:vector>
  </HeadingPairs>
  <TitlesOfParts>
    <vt:vector size="86" baseType="lpstr">
      <vt:lpstr>Aptos</vt:lpstr>
      <vt:lpstr>Arial</vt:lpstr>
      <vt:lpstr>Calibri</vt:lpstr>
      <vt:lpstr>Nexa</vt:lpstr>
      <vt:lpstr>Nexa Bold</vt:lpstr>
      <vt:lpstr>Nexa Book</vt:lpstr>
      <vt:lpstr>Nexa Book Italic</vt:lpstr>
      <vt:lpstr>Open Sans</vt:lpstr>
      <vt:lpstr>Raleway</vt:lpstr>
      <vt:lpstr>PricingOne Light Template Oct 2024</vt:lpstr>
      <vt:lpstr>think-cell Slide</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Category Overview (Replace with So What)</vt:lpstr>
      <vt:lpstr>Category Overview (Replace with So What)</vt:lpstr>
      <vt:lpstr>Category Overview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1</cp:revision>
  <dcterms:created xsi:type="dcterms:W3CDTF">2024-07-05T07:54:38Z</dcterms:created>
  <dcterms:modified xsi:type="dcterms:W3CDTF">2025-09-11T08:3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